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autoCompressPictures="0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9144000" cy="5143500" type="screen16x9"/>
  <p:notesSz cx="6797675" cy="9926638"/>
  <p:custDataLst>
    <p:tags r:id="rId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1711" userDrawn="1">
          <p15:clr>
            <a:srgbClr val="A4A3A4"/>
          </p15:clr>
        </p15:guide>
        <p15:guide id="8" orient="horz" pos="2845" userDrawn="1">
          <p15:clr>
            <a:srgbClr val="A4A3A4"/>
          </p15:clr>
        </p15:guide>
        <p15:guide id="10" pos="2857" userDrawn="1">
          <p15:clr>
            <a:srgbClr val="A4A3A4"/>
          </p15:clr>
        </p15:guide>
        <p15:guide id="13" pos="3742">
          <p15:clr>
            <a:srgbClr val="A4A3A4"/>
          </p15:clr>
        </p15:guide>
        <p15:guide id="15" pos="1973">
          <p15:clr>
            <a:srgbClr val="A4A3A4"/>
          </p15:clr>
        </p15:guide>
        <p15:guide id="18" pos="2903" userDrawn="1">
          <p15:clr>
            <a:srgbClr val="A4A3A4"/>
          </p15:clr>
        </p15:guide>
        <p15:guide id="21" orient="horz" pos="1756" userDrawn="1">
          <p15:clr>
            <a:srgbClr val="A4A3A4"/>
          </p15:clr>
        </p15:guide>
        <p15:guide id="22" orient="horz" pos="3003" userDrawn="1">
          <p15:clr>
            <a:srgbClr val="A4A3A4"/>
          </p15:clr>
        </p15:guide>
        <p15:guide id="23" pos="3782">
          <p15:clr>
            <a:srgbClr val="A4A3A4"/>
          </p15:clr>
        </p15:guide>
        <p15:guide id="24" pos="2015">
          <p15:clr>
            <a:srgbClr val="A4A3A4"/>
          </p15:clr>
        </p15:guide>
        <p15:guide id="27" orient="horz" pos="237" userDrawn="1">
          <p15:clr>
            <a:srgbClr val="A4A3A4"/>
          </p15:clr>
        </p15:guide>
        <p15:guide id="28" orient="horz" pos="395" userDrawn="1">
          <p15:clr>
            <a:srgbClr val="A4A3A4"/>
          </p15:clr>
        </p15:guide>
        <p15:guide id="31" orient="horz" pos="826" userDrawn="1">
          <p15:clr>
            <a:srgbClr val="A4A3A4"/>
          </p15:clr>
        </p15:guide>
        <p15:guide id="32" pos="249" userDrawn="1">
          <p15:clr>
            <a:srgbClr val="A4A3A4"/>
          </p15:clr>
        </p15:guide>
        <p15:guide id="33" orient="horz" pos="1212" userDrawn="1">
          <p15:clr>
            <a:srgbClr val="A4A3A4"/>
          </p15:clr>
        </p15:guide>
        <p15:guide id="34" orient="horz" pos="141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6" name="Autor" initials="A" lastIdx="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971"/>
    <a:srgbClr val="F1D100"/>
    <a:srgbClr val="C11B1A"/>
    <a:srgbClr val="F1CABB"/>
    <a:srgbClr val="FF2D37"/>
    <a:srgbClr val="FFA500"/>
    <a:srgbClr val="EBEBEB"/>
    <a:srgbClr val="ECBD79"/>
    <a:srgbClr val="FFFFFF"/>
    <a:srgbClr val="6A6A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808" autoAdjust="0"/>
    <p:restoredTop sz="85304" autoAdjust="0"/>
  </p:normalViewPr>
  <p:slideViewPr>
    <p:cSldViewPr snapToGrid="0">
      <p:cViewPr varScale="1">
        <p:scale>
          <a:sx n="162" d="100"/>
          <a:sy n="162" d="100"/>
        </p:scale>
        <p:origin x="570" y="126"/>
      </p:cViewPr>
      <p:guideLst>
        <p:guide orient="horz" pos="1711"/>
        <p:guide orient="horz" pos="2845"/>
        <p:guide pos="2857"/>
        <p:guide pos="3742"/>
        <p:guide pos="1973"/>
        <p:guide pos="2903"/>
        <p:guide orient="horz" pos="1756"/>
        <p:guide orient="horz" pos="3003"/>
        <p:guide pos="3782"/>
        <p:guide pos="2015"/>
        <p:guide orient="horz" pos="237"/>
        <p:guide orient="horz" pos="395"/>
        <p:guide orient="horz" pos="826"/>
        <p:guide pos="249"/>
        <p:guide orient="horz" pos="1212"/>
        <p:guide orient="horz" pos="141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8" d="100"/>
        <a:sy n="158" d="100"/>
      </p:scale>
      <p:origin x="0" y="-4248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70971E3-E51A-46AB-9695-5596E5DD919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B35D741-EFFA-4744-8820-D5D9A040663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727DA6-3592-4ABA-BCD5-46E27A88EB1F}" type="datetimeFigureOut">
              <a:rPr lang="en-US" smtClean="0"/>
              <a:t>10/6/2022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9FF6292-DDD6-41BE-930E-18AFB63045E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C1A76D0-F4D4-4EF6-81C5-0A78BF26A4D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BDB493-A597-46C5-9F12-73E24BD330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12179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C568D1-65C2-4CDE-9B8E-4F04E333B056}" type="datetimeFigureOut">
              <a:rPr lang="en-US" smtClean="0"/>
              <a:pPr/>
              <a:t>10/6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17575" y="4714875"/>
            <a:ext cx="4962525" cy="4467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CD5AE8-B077-49EA-8F01-5B4042BFABD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395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498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89693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249363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622425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304800"/>
            <a:ext cx="6616700" cy="37226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E27942-C1D6-4BA3-8485-7DA6A20E1AB8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98048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small Pictur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941763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err="1"/>
              <a:t>Textmasterformate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4"/>
            <a:r>
              <a:rPr lang="en-US" noProof="0" err="1"/>
              <a:t>Fünf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1A14F1-A98B-4B01-AB5C-4EDA8538C6C0}" type="datetime3">
              <a:rPr lang="en-US" noProof="0" smtClean="0"/>
              <a:pPr/>
              <a:t>6 October 2022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B9D1A53-3D50-465D-BEE6-D62CB4527C46}" type="datetime3">
              <a:rPr lang="en-US" noProof="0" smtClean="0"/>
              <a:pPr/>
              <a:t>6 October 2022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uthor, © Continental AG</a:t>
            </a:r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5AB87BFB-9E7F-EB4B-9E67-80789C189B06}"/>
              </a:ext>
            </a:extLst>
          </p:cNvPr>
          <p:cNvSpPr>
            <a:spLocks/>
          </p:cNvSpPr>
          <p:nvPr userDrawn="1"/>
        </p:nvSpPr>
        <p:spPr>
          <a:xfrm rot="16200000">
            <a:off x="2103305" y="-1892746"/>
            <a:ext cx="4937390" cy="89289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599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4264B1D-09F5-2E4A-ABE4-E595753D1E8C}"/>
              </a:ext>
            </a:extLst>
          </p:cNvPr>
          <p:cNvSpPr/>
          <p:nvPr userDrawn="1"/>
        </p:nvSpPr>
        <p:spPr>
          <a:xfrm rot="16200000">
            <a:off x="468315" y="2517998"/>
            <a:ext cx="5143500" cy="10750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599" dirty="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A56F51F4-97B1-4646-A8EF-1CC7434B976E}"/>
              </a:ext>
            </a:extLst>
          </p:cNvPr>
          <p:cNvSpPr/>
          <p:nvPr userDrawn="1"/>
        </p:nvSpPr>
        <p:spPr>
          <a:xfrm rot="16200000">
            <a:off x="3527774" y="2517998"/>
            <a:ext cx="5143501" cy="10750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599" dirty="0" err="1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6210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19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theme" Target="../theme/theme1.xml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5.x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84BF7A3-1276-46B4-B52A-C20C538A14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033096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592" imgH="595" progId="TCLayout.ActiveDocument.1">
                  <p:embed/>
                </p:oleObj>
              </mc:Choice>
              <mc:Fallback>
                <p:oleObj name="think-cell Folie" r:id="rId12" imgW="592" imgH="59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84BF7A3-1276-46B4-B52A-C20C538A14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09332AED-C72E-4130-9A06-C8B64D881F40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err="1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MIO_LOGOPLACEHOLDER" hidden="1"/>
          <p:cNvSpPr/>
          <p:nvPr userDrawn="1"/>
        </p:nvSpPr>
        <p:spPr>
          <a:xfrm>
            <a:off x="7727949" y="381360"/>
            <a:ext cx="1020763" cy="418740"/>
          </a:xfrm>
          <a:prstGeom prst="rect">
            <a:avLst/>
          </a:prstGeom>
          <a:solidFill>
            <a:srgbClr val="FFFFFF"/>
          </a:solidFill>
          <a:ln w="3175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800" noProof="0">
              <a:solidFill>
                <a:srgbClr val="00B0F0"/>
              </a:solidFill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251520" y="4381646"/>
            <a:ext cx="1857600" cy="57054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6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9" y="1342800"/>
            <a:ext cx="8353425" cy="2813275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err="1"/>
              <a:t>Textmasterformate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4"/>
            <a:r>
              <a:rPr lang="en-US" noProof="0" err="1"/>
              <a:t>Fünf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5" y="4551970"/>
            <a:ext cx="2001935" cy="11283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446C7CFE-FDAE-4A50-A309-ACAE703BAE6B}" type="datetime3">
              <a:rPr lang="en-US" noProof="0" smtClean="0"/>
              <a:pPr/>
              <a:t>6 October 2022</a:t>
            </a:fld>
            <a:endParaRPr lang="en-US" noProof="0" dirty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6" y="4665239"/>
            <a:ext cx="2001935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dirty="0"/>
              <a:t>Author, © Continental AG</a:t>
            </a:r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5" y="4665239"/>
            <a:ext cx="360289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3501407" y="4665239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>
                <a:solidFill>
                  <a:schemeClr val="tx1"/>
                </a:solidFill>
                <a:latin typeface="+mn-lt"/>
              </a:rPr>
              <a:t>Internal</a:t>
            </a:r>
          </a:p>
        </p:txBody>
      </p:sp>
      <p:sp>
        <p:nvSpPr>
          <p:cNvPr id="12" name="Text Box 23"/>
          <p:cNvSpPr txBox="1"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3501407" y="4561587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dirty="0" err="1">
                <a:solidFill>
                  <a:schemeClr val="tx1"/>
                </a:solidFill>
                <a:latin typeface="+mn-lt"/>
              </a:rPr>
              <a:t>ContiTires</a:t>
            </a:r>
            <a:r>
              <a:rPr lang="en-US" sz="700" b="1" noProof="0" dirty="0">
                <a:solidFill>
                  <a:schemeClr val="tx1"/>
                </a:solidFill>
                <a:latin typeface="+mn-lt"/>
              </a:rPr>
              <a:t> Communication Concept</a:t>
            </a:r>
          </a:p>
        </p:txBody>
      </p:sp>
      <p:sp>
        <p:nvSpPr>
          <p:cNvPr id="4" name="empower - DO NOT DELETE!!!"/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err="1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empower - DO NOT DELETE!!!" hidden="1"/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err="1">
              <a:solidFill>
                <a:schemeClr val="bg2">
                  <a:lumMod val="10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50" r:id="rId2"/>
    <p:sldLayoutId id="2147483663" r:id="rId3"/>
    <p:sldLayoutId id="2147483689" r:id="rId4"/>
  </p:sldLayoutIdLst>
  <p:transition>
    <p:fade/>
  </p:transition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0" name="Gruppieren 699">
            <a:extLst>
              <a:ext uri="{FF2B5EF4-FFF2-40B4-BE49-F238E27FC236}">
                <a16:creationId xmlns:a16="http://schemas.microsoft.com/office/drawing/2014/main" id="{13A88CD1-7D57-7944-8370-5696EF5E9C97}"/>
              </a:ext>
            </a:extLst>
          </p:cNvPr>
          <p:cNvGrpSpPr/>
          <p:nvPr/>
        </p:nvGrpSpPr>
        <p:grpSpPr>
          <a:xfrm>
            <a:off x="1580221" y="706464"/>
            <a:ext cx="1268806" cy="678850"/>
            <a:chOff x="1982856" y="604007"/>
            <a:chExt cx="1268806" cy="678850"/>
          </a:xfrm>
        </p:grpSpPr>
        <p:sp>
          <p:nvSpPr>
            <p:cNvPr id="692" name="Textfeld 691">
              <a:extLst>
                <a:ext uri="{FF2B5EF4-FFF2-40B4-BE49-F238E27FC236}">
                  <a16:creationId xmlns:a16="http://schemas.microsoft.com/office/drawing/2014/main" id="{7A19D125-494C-D04D-9A31-8E9D50A3783E}"/>
                </a:ext>
              </a:extLst>
            </p:cNvPr>
            <p:cNvSpPr txBox="1"/>
            <p:nvPr/>
          </p:nvSpPr>
          <p:spPr>
            <a:xfrm>
              <a:off x="2130093" y="636526"/>
              <a:ext cx="112156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3600" dirty="0"/>
                <a:t>20</a:t>
              </a:r>
              <a:endParaRPr lang="de-DE" sz="8000" dirty="0"/>
            </a:p>
          </p:txBody>
        </p:sp>
        <p:sp>
          <p:nvSpPr>
            <p:cNvPr id="599" name="Textfeld 598">
              <a:extLst>
                <a:ext uri="{FF2B5EF4-FFF2-40B4-BE49-F238E27FC236}">
                  <a16:creationId xmlns:a16="http://schemas.microsoft.com/office/drawing/2014/main" id="{2C566409-C5A5-AA42-ABBB-99D955DA4529}"/>
                </a:ext>
              </a:extLst>
            </p:cNvPr>
            <p:cNvSpPr txBox="1"/>
            <p:nvPr/>
          </p:nvSpPr>
          <p:spPr>
            <a:xfrm>
              <a:off x="2108573" y="604007"/>
              <a:ext cx="83055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800" dirty="0"/>
                <a:t>Velikost </a:t>
              </a:r>
              <a:r>
                <a:rPr lang="cs-CZ" sz="800" dirty="0" err="1"/>
                <a:t>fleetu</a:t>
              </a:r>
              <a:endParaRPr lang="de-DE" sz="800" dirty="0"/>
            </a:p>
          </p:txBody>
        </p:sp>
        <p:sp>
          <p:nvSpPr>
            <p:cNvPr id="690" name="Rechteck 689">
              <a:extLst>
                <a:ext uri="{FF2B5EF4-FFF2-40B4-BE49-F238E27FC236}">
                  <a16:creationId xmlns:a16="http://schemas.microsoft.com/office/drawing/2014/main" id="{CC9054D2-9094-6948-AB93-AC45A4E1B66A}"/>
                </a:ext>
              </a:extLst>
            </p:cNvPr>
            <p:cNvSpPr/>
            <p:nvPr/>
          </p:nvSpPr>
          <p:spPr>
            <a:xfrm>
              <a:off x="1982856" y="767589"/>
              <a:ext cx="356188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dirty="0"/>
                <a:t>&gt;</a:t>
              </a:r>
              <a:endParaRPr lang="de-DE" sz="2801" dirty="0"/>
            </a:p>
          </p:txBody>
        </p:sp>
      </p:grpSp>
      <p:grpSp>
        <p:nvGrpSpPr>
          <p:cNvPr id="470" name="Gruppieren 469">
            <a:extLst>
              <a:ext uri="{FF2B5EF4-FFF2-40B4-BE49-F238E27FC236}">
                <a16:creationId xmlns:a16="http://schemas.microsoft.com/office/drawing/2014/main" id="{8C3DFA01-79A2-724C-B738-94DC6790B865}"/>
              </a:ext>
            </a:extLst>
          </p:cNvPr>
          <p:cNvGrpSpPr/>
          <p:nvPr/>
        </p:nvGrpSpPr>
        <p:grpSpPr>
          <a:xfrm>
            <a:off x="199102" y="232077"/>
            <a:ext cx="1683321" cy="304961"/>
            <a:chOff x="329960" y="709719"/>
            <a:chExt cx="2774616" cy="502668"/>
          </a:xfrm>
          <a:solidFill>
            <a:schemeClr val="accent1"/>
          </a:solidFill>
        </p:grpSpPr>
        <p:sp>
          <p:nvSpPr>
            <p:cNvPr id="471" name="Freihandform 470">
              <a:extLst>
                <a:ext uri="{FF2B5EF4-FFF2-40B4-BE49-F238E27FC236}">
                  <a16:creationId xmlns:a16="http://schemas.microsoft.com/office/drawing/2014/main" id="{E39BE889-DE7B-064B-8B79-862362230323}"/>
                </a:ext>
              </a:extLst>
            </p:cNvPr>
            <p:cNvSpPr/>
            <p:nvPr/>
          </p:nvSpPr>
          <p:spPr>
            <a:xfrm>
              <a:off x="2729612" y="710197"/>
              <a:ext cx="374964" cy="389253"/>
            </a:xfrm>
            <a:custGeom>
              <a:avLst/>
              <a:gdLst>
                <a:gd name="connsiteX0" fmla="*/ 114198 w 143403"/>
                <a:gd name="connsiteY0" fmla="*/ 86804 h 148868"/>
                <a:gd name="connsiteX1" fmla="*/ 110837 w 143403"/>
                <a:gd name="connsiteY1" fmla="*/ 77519 h 148868"/>
                <a:gd name="connsiteX2" fmla="*/ 112792 w 143403"/>
                <a:gd name="connsiteY2" fmla="*/ 77519 h 148868"/>
                <a:gd name="connsiteX3" fmla="*/ 121530 w 143403"/>
                <a:gd name="connsiteY3" fmla="*/ 83628 h 148868"/>
                <a:gd name="connsiteX4" fmla="*/ 127640 w 143403"/>
                <a:gd name="connsiteY4" fmla="*/ 120280 h 148868"/>
                <a:gd name="connsiteX5" fmla="*/ 115969 w 143403"/>
                <a:gd name="connsiteY5" fmla="*/ 113010 h 148868"/>
                <a:gd name="connsiteX6" fmla="*/ 92323 w 143403"/>
                <a:gd name="connsiteY6" fmla="*/ 65424 h 148868"/>
                <a:gd name="connsiteX7" fmla="*/ 75826 w 143403"/>
                <a:gd name="connsiteY7" fmla="*/ 45021 h 148868"/>
                <a:gd name="connsiteX8" fmla="*/ 79737 w 143403"/>
                <a:gd name="connsiteY8" fmla="*/ 16310 h 148868"/>
                <a:gd name="connsiteX9" fmla="*/ 72893 w 143403"/>
                <a:gd name="connsiteY9" fmla="*/ 6109 h 148868"/>
                <a:gd name="connsiteX10" fmla="*/ 65622 w 143403"/>
                <a:gd name="connsiteY10" fmla="*/ 0 h 148868"/>
                <a:gd name="connsiteX11" fmla="*/ 64645 w 143403"/>
                <a:gd name="connsiteY11" fmla="*/ 489 h 148868"/>
                <a:gd name="connsiteX12" fmla="*/ 65134 w 143403"/>
                <a:gd name="connsiteY12" fmla="*/ 5803 h 148868"/>
                <a:gd name="connsiteX13" fmla="*/ 45215 w 143403"/>
                <a:gd name="connsiteY13" fmla="*/ 19426 h 148868"/>
                <a:gd name="connsiteX14" fmla="*/ 45703 w 143403"/>
                <a:gd name="connsiteY14" fmla="*/ 25534 h 148868"/>
                <a:gd name="connsiteX15" fmla="*/ 49125 w 143403"/>
                <a:gd name="connsiteY15" fmla="*/ 27428 h 148868"/>
                <a:gd name="connsiteX16" fmla="*/ 62201 w 143403"/>
                <a:gd name="connsiteY16" fmla="*/ 25046 h 148868"/>
                <a:gd name="connsiteX17" fmla="*/ 53952 w 143403"/>
                <a:gd name="connsiteY17" fmla="*/ 37263 h 148868"/>
                <a:gd name="connsiteX18" fmla="*/ 44237 w 143403"/>
                <a:gd name="connsiteY18" fmla="*/ 44105 h 148868"/>
                <a:gd name="connsiteX19" fmla="*/ 32567 w 143403"/>
                <a:gd name="connsiteY19" fmla="*/ 40195 h 148868"/>
                <a:gd name="connsiteX20" fmla="*/ 30611 w 143403"/>
                <a:gd name="connsiteY20" fmla="*/ 40684 h 148868"/>
                <a:gd name="connsiteX21" fmla="*/ 21874 w 143403"/>
                <a:gd name="connsiteY21" fmla="*/ 49908 h 148868"/>
                <a:gd name="connsiteX22" fmla="*/ 20896 w 143403"/>
                <a:gd name="connsiteY22" fmla="*/ 51863 h 148868"/>
                <a:gd name="connsiteX23" fmla="*/ 20408 w 143403"/>
                <a:gd name="connsiteY23" fmla="*/ 62064 h 148868"/>
                <a:gd name="connsiteX24" fmla="*/ 20408 w 143403"/>
                <a:gd name="connsiteY24" fmla="*/ 65485 h 148868"/>
                <a:gd name="connsiteX25" fmla="*/ 23829 w 143403"/>
                <a:gd name="connsiteY25" fmla="*/ 76664 h 148868"/>
                <a:gd name="connsiteX26" fmla="*/ 29206 w 143403"/>
                <a:gd name="connsiteY26" fmla="*/ 68356 h 148868"/>
                <a:gd name="connsiteX27" fmla="*/ 26762 w 143403"/>
                <a:gd name="connsiteY27" fmla="*/ 62553 h 148868"/>
                <a:gd name="connsiteX28" fmla="*/ 26762 w 143403"/>
                <a:gd name="connsiteY28" fmla="*/ 53268 h 148868"/>
                <a:gd name="connsiteX29" fmla="*/ 32078 w 143403"/>
                <a:gd name="connsiteY29" fmla="*/ 49358 h 148868"/>
                <a:gd name="connsiteX30" fmla="*/ 46681 w 143403"/>
                <a:gd name="connsiteY30" fmla="*/ 59560 h 148868"/>
                <a:gd name="connsiteX31" fmla="*/ 54502 w 143403"/>
                <a:gd name="connsiteY31" fmla="*/ 71227 h 148868"/>
                <a:gd name="connsiteX32" fmla="*/ 75398 w 143403"/>
                <a:gd name="connsiteY32" fmla="*/ 86316 h 148868"/>
                <a:gd name="connsiteX33" fmla="*/ 78331 w 143403"/>
                <a:gd name="connsiteY33" fmla="*/ 97494 h 148868"/>
                <a:gd name="connsiteX34" fmla="*/ 95745 w 143403"/>
                <a:gd name="connsiteY34" fmla="*/ 115515 h 148868"/>
                <a:gd name="connsiteX35" fmla="*/ 85541 w 143403"/>
                <a:gd name="connsiteY35" fmla="*/ 128649 h 148868"/>
                <a:gd name="connsiteX36" fmla="*/ 78942 w 143403"/>
                <a:gd name="connsiteY36" fmla="*/ 139278 h 148868"/>
                <a:gd name="connsiteX37" fmla="*/ 91162 w 143403"/>
                <a:gd name="connsiteY37" fmla="*/ 139278 h 148868"/>
                <a:gd name="connsiteX38" fmla="*/ 92629 w 143403"/>
                <a:gd name="connsiteY38" fmla="*/ 132436 h 148868"/>
                <a:gd name="connsiteX39" fmla="*/ 107171 w 143403"/>
                <a:gd name="connsiteY39" fmla="*/ 116431 h 148868"/>
                <a:gd name="connsiteX40" fmla="*/ 107660 w 143403"/>
                <a:gd name="connsiteY40" fmla="*/ 113988 h 148868"/>
                <a:gd name="connsiteX41" fmla="*/ 103383 w 143403"/>
                <a:gd name="connsiteY41" fmla="*/ 100365 h 148868"/>
                <a:gd name="connsiteX42" fmla="*/ 109493 w 143403"/>
                <a:gd name="connsiteY42" fmla="*/ 85338 h 148868"/>
                <a:gd name="connsiteX43" fmla="*/ 91957 w 143403"/>
                <a:gd name="connsiteY43" fmla="*/ 65424 h 148868"/>
                <a:gd name="connsiteX44" fmla="*/ 26396 w 143403"/>
                <a:gd name="connsiteY44" fmla="*/ 39157 h 148868"/>
                <a:gd name="connsiteX45" fmla="*/ 15214 w 143403"/>
                <a:gd name="connsiteY45" fmla="*/ 42089 h 148868"/>
                <a:gd name="connsiteX46" fmla="*/ 7943 w 143403"/>
                <a:gd name="connsiteY46" fmla="*/ 45510 h 148868"/>
                <a:gd name="connsiteX47" fmla="*/ 3055 w 143403"/>
                <a:gd name="connsiteY47" fmla="*/ 50824 h 148868"/>
                <a:gd name="connsiteX48" fmla="*/ 12770 w 143403"/>
                <a:gd name="connsiteY48" fmla="*/ 53268 h 148868"/>
                <a:gd name="connsiteX49" fmla="*/ 17169 w 143403"/>
                <a:gd name="connsiteY49" fmla="*/ 48869 h 148868"/>
                <a:gd name="connsiteX50" fmla="*/ 19552 w 143403"/>
                <a:gd name="connsiteY50" fmla="*/ 47892 h 148868"/>
                <a:gd name="connsiteX51" fmla="*/ 27373 w 143403"/>
                <a:gd name="connsiteY51" fmla="*/ 39645 h 148868"/>
                <a:gd name="connsiteX52" fmla="*/ 26396 w 143403"/>
                <a:gd name="connsiteY52" fmla="*/ 39157 h 148868"/>
                <a:gd name="connsiteX53" fmla="*/ 71916 w 143403"/>
                <a:gd name="connsiteY53" fmla="*/ 121624 h 148868"/>
                <a:gd name="connsiteX54" fmla="*/ 85541 w 143403"/>
                <a:gd name="connsiteY54" fmla="*/ 108490 h 148868"/>
                <a:gd name="connsiteX55" fmla="*/ 90918 w 143403"/>
                <a:gd name="connsiteY55" fmla="*/ 113866 h 148868"/>
                <a:gd name="connsiteX56" fmla="*/ 76315 w 143403"/>
                <a:gd name="connsiteY56" fmla="*/ 126083 h 148868"/>
                <a:gd name="connsiteX57" fmla="*/ 73382 w 143403"/>
                <a:gd name="connsiteY57" fmla="*/ 131397 h 148868"/>
                <a:gd name="connsiteX58" fmla="*/ 62689 w 143403"/>
                <a:gd name="connsiteY58" fmla="*/ 131397 h 148868"/>
                <a:gd name="connsiteX59" fmla="*/ 71916 w 143403"/>
                <a:gd name="connsiteY59" fmla="*/ 121624 h 148868"/>
                <a:gd name="connsiteX60" fmla="*/ 143404 w 143403"/>
                <a:gd name="connsiteY60" fmla="*/ 148868 h 148868"/>
                <a:gd name="connsiteX61" fmla="*/ 0 w 143403"/>
                <a:gd name="connsiteY61" fmla="*/ 148868 h 148868"/>
                <a:gd name="connsiteX62" fmla="*/ 0 w 143403"/>
                <a:gd name="connsiteY62" fmla="*/ 143981 h 148868"/>
                <a:gd name="connsiteX63" fmla="*/ 143404 w 143403"/>
                <a:gd name="connsiteY63" fmla="*/ 143981 h 148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143403" h="148868">
                  <a:moveTo>
                    <a:pt x="114198" y="86804"/>
                  </a:moveTo>
                  <a:cubicBezTo>
                    <a:pt x="113373" y="83609"/>
                    <a:pt x="112248" y="80501"/>
                    <a:pt x="110837" y="77519"/>
                  </a:cubicBezTo>
                  <a:cubicBezTo>
                    <a:pt x="110837" y="77519"/>
                    <a:pt x="111326" y="77091"/>
                    <a:pt x="112792" y="77519"/>
                  </a:cubicBezTo>
                  <a:cubicBezTo>
                    <a:pt x="115817" y="79393"/>
                    <a:pt x="118731" y="81433"/>
                    <a:pt x="121530" y="83628"/>
                  </a:cubicBezTo>
                  <a:cubicBezTo>
                    <a:pt x="125379" y="88942"/>
                    <a:pt x="127640" y="112277"/>
                    <a:pt x="127640" y="120280"/>
                  </a:cubicBezTo>
                  <a:cubicBezTo>
                    <a:pt x="123412" y="118450"/>
                    <a:pt x="119477" y="116000"/>
                    <a:pt x="115969" y="113010"/>
                  </a:cubicBezTo>
                  <a:close/>
                  <a:moveTo>
                    <a:pt x="92323" y="65424"/>
                  </a:moveTo>
                  <a:cubicBezTo>
                    <a:pt x="86329" y="59037"/>
                    <a:pt x="80818" y="52218"/>
                    <a:pt x="75826" y="45021"/>
                  </a:cubicBezTo>
                  <a:cubicBezTo>
                    <a:pt x="79535" y="35935"/>
                    <a:pt x="80885" y="26057"/>
                    <a:pt x="79737" y="16310"/>
                  </a:cubicBezTo>
                  <a:cubicBezTo>
                    <a:pt x="77781" y="12950"/>
                    <a:pt x="75337" y="9530"/>
                    <a:pt x="72893" y="6109"/>
                  </a:cubicBezTo>
                  <a:cubicBezTo>
                    <a:pt x="71916" y="4643"/>
                    <a:pt x="67578" y="0"/>
                    <a:pt x="65622" y="0"/>
                  </a:cubicBezTo>
                  <a:cubicBezTo>
                    <a:pt x="65134" y="0"/>
                    <a:pt x="64645" y="0"/>
                    <a:pt x="64645" y="489"/>
                  </a:cubicBezTo>
                  <a:lnTo>
                    <a:pt x="65134" y="5803"/>
                  </a:lnTo>
                  <a:cubicBezTo>
                    <a:pt x="59023" y="9713"/>
                    <a:pt x="51508" y="14600"/>
                    <a:pt x="45215" y="19426"/>
                  </a:cubicBezTo>
                  <a:cubicBezTo>
                    <a:pt x="45111" y="21474"/>
                    <a:pt x="45276" y="23528"/>
                    <a:pt x="45703" y="25534"/>
                  </a:cubicBezTo>
                  <a:cubicBezTo>
                    <a:pt x="46681" y="26425"/>
                    <a:pt x="47854" y="27074"/>
                    <a:pt x="49125" y="27428"/>
                  </a:cubicBezTo>
                  <a:cubicBezTo>
                    <a:pt x="53439" y="26398"/>
                    <a:pt x="57801" y="25603"/>
                    <a:pt x="62201" y="25046"/>
                  </a:cubicBezTo>
                  <a:lnTo>
                    <a:pt x="53952" y="37263"/>
                  </a:lnTo>
                  <a:lnTo>
                    <a:pt x="44237" y="44105"/>
                  </a:lnTo>
                  <a:lnTo>
                    <a:pt x="32567" y="40195"/>
                  </a:lnTo>
                  <a:cubicBezTo>
                    <a:pt x="31589" y="40195"/>
                    <a:pt x="31100" y="40195"/>
                    <a:pt x="30611" y="40684"/>
                  </a:cubicBezTo>
                  <a:lnTo>
                    <a:pt x="21874" y="49908"/>
                  </a:lnTo>
                  <a:cubicBezTo>
                    <a:pt x="21275" y="50381"/>
                    <a:pt x="20915" y="51098"/>
                    <a:pt x="20896" y="51863"/>
                  </a:cubicBezTo>
                  <a:lnTo>
                    <a:pt x="20408" y="62064"/>
                  </a:lnTo>
                  <a:lnTo>
                    <a:pt x="20408" y="65485"/>
                  </a:lnTo>
                  <a:cubicBezTo>
                    <a:pt x="20340" y="69479"/>
                    <a:pt x="21538" y="73391"/>
                    <a:pt x="23829" y="76664"/>
                  </a:cubicBezTo>
                  <a:lnTo>
                    <a:pt x="29206" y="68356"/>
                  </a:lnTo>
                  <a:cubicBezTo>
                    <a:pt x="28174" y="66520"/>
                    <a:pt x="27355" y="64573"/>
                    <a:pt x="26762" y="62553"/>
                  </a:cubicBezTo>
                  <a:lnTo>
                    <a:pt x="26762" y="53268"/>
                  </a:lnTo>
                  <a:lnTo>
                    <a:pt x="32078" y="49358"/>
                  </a:lnTo>
                  <a:lnTo>
                    <a:pt x="46681" y="59560"/>
                  </a:lnTo>
                  <a:cubicBezTo>
                    <a:pt x="49003" y="63633"/>
                    <a:pt x="51618" y="67533"/>
                    <a:pt x="54502" y="71227"/>
                  </a:cubicBezTo>
                  <a:cubicBezTo>
                    <a:pt x="60942" y="76943"/>
                    <a:pt x="67944" y="81998"/>
                    <a:pt x="75398" y="86316"/>
                  </a:cubicBezTo>
                  <a:cubicBezTo>
                    <a:pt x="75863" y="90157"/>
                    <a:pt x="76853" y="93918"/>
                    <a:pt x="78331" y="97494"/>
                  </a:cubicBezTo>
                  <a:lnTo>
                    <a:pt x="95745" y="115515"/>
                  </a:lnTo>
                  <a:lnTo>
                    <a:pt x="85541" y="128649"/>
                  </a:lnTo>
                  <a:cubicBezTo>
                    <a:pt x="81557" y="130711"/>
                    <a:pt x="79022" y="134792"/>
                    <a:pt x="78942" y="139278"/>
                  </a:cubicBezTo>
                  <a:lnTo>
                    <a:pt x="91162" y="139278"/>
                  </a:lnTo>
                  <a:lnTo>
                    <a:pt x="92629" y="132436"/>
                  </a:lnTo>
                  <a:lnTo>
                    <a:pt x="107171" y="116431"/>
                  </a:lnTo>
                  <a:cubicBezTo>
                    <a:pt x="108149" y="115454"/>
                    <a:pt x="108149" y="114965"/>
                    <a:pt x="107660" y="113988"/>
                  </a:cubicBezTo>
                  <a:lnTo>
                    <a:pt x="103383" y="100365"/>
                  </a:lnTo>
                  <a:cubicBezTo>
                    <a:pt x="106982" y="96144"/>
                    <a:pt x="109126" y="90874"/>
                    <a:pt x="109493" y="85338"/>
                  </a:cubicBezTo>
                  <a:cubicBezTo>
                    <a:pt x="109004" y="72204"/>
                    <a:pt x="95867" y="68784"/>
                    <a:pt x="91957" y="65424"/>
                  </a:cubicBezTo>
                  <a:moveTo>
                    <a:pt x="26396" y="39157"/>
                  </a:moveTo>
                  <a:cubicBezTo>
                    <a:pt x="25907" y="39157"/>
                    <a:pt x="15214" y="42089"/>
                    <a:pt x="15214" y="42089"/>
                  </a:cubicBezTo>
                  <a:cubicBezTo>
                    <a:pt x="12697" y="43015"/>
                    <a:pt x="10265" y="44160"/>
                    <a:pt x="7943" y="45510"/>
                  </a:cubicBezTo>
                  <a:cubicBezTo>
                    <a:pt x="5499" y="46915"/>
                    <a:pt x="3055" y="49358"/>
                    <a:pt x="3055" y="50824"/>
                  </a:cubicBezTo>
                  <a:lnTo>
                    <a:pt x="12770" y="53268"/>
                  </a:lnTo>
                  <a:lnTo>
                    <a:pt x="17169" y="48869"/>
                  </a:lnTo>
                  <a:lnTo>
                    <a:pt x="19552" y="47892"/>
                  </a:lnTo>
                  <a:lnTo>
                    <a:pt x="27373" y="39645"/>
                  </a:lnTo>
                  <a:cubicBezTo>
                    <a:pt x="27862" y="39157"/>
                    <a:pt x="27862" y="38668"/>
                    <a:pt x="26396" y="39157"/>
                  </a:cubicBezTo>
                  <a:moveTo>
                    <a:pt x="71916" y="121624"/>
                  </a:moveTo>
                  <a:lnTo>
                    <a:pt x="85541" y="108490"/>
                  </a:lnTo>
                  <a:lnTo>
                    <a:pt x="90918" y="113866"/>
                  </a:lnTo>
                  <a:lnTo>
                    <a:pt x="76315" y="126083"/>
                  </a:lnTo>
                  <a:cubicBezTo>
                    <a:pt x="75337" y="127549"/>
                    <a:pt x="74360" y="129931"/>
                    <a:pt x="73382" y="131397"/>
                  </a:cubicBezTo>
                  <a:lnTo>
                    <a:pt x="62689" y="131397"/>
                  </a:lnTo>
                  <a:cubicBezTo>
                    <a:pt x="64419" y="127089"/>
                    <a:pt x="67712" y="123596"/>
                    <a:pt x="71916" y="121624"/>
                  </a:cubicBezTo>
                  <a:moveTo>
                    <a:pt x="143404" y="148868"/>
                  </a:moveTo>
                  <a:lnTo>
                    <a:pt x="0" y="148868"/>
                  </a:lnTo>
                  <a:lnTo>
                    <a:pt x="0" y="143981"/>
                  </a:lnTo>
                  <a:lnTo>
                    <a:pt x="143404" y="143981"/>
                  </a:lnTo>
                  <a:close/>
                </a:path>
              </a:pathLst>
            </a:custGeom>
            <a:grpFill/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2" name="Freihandform 471">
              <a:extLst>
                <a:ext uri="{FF2B5EF4-FFF2-40B4-BE49-F238E27FC236}">
                  <a16:creationId xmlns:a16="http://schemas.microsoft.com/office/drawing/2014/main" id="{229C678D-BFA1-C54A-8B12-812A14425D72}"/>
                </a:ext>
              </a:extLst>
            </p:cNvPr>
            <p:cNvSpPr/>
            <p:nvPr/>
          </p:nvSpPr>
          <p:spPr>
            <a:xfrm>
              <a:off x="329960" y="709719"/>
              <a:ext cx="2372011" cy="502668"/>
            </a:xfrm>
            <a:custGeom>
              <a:avLst/>
              <a:gdLst>
                <a:gd name="connsiteX0" fmla="*/ 342898 w 907164"/>
                <a:gd name="connsiteY0" fmla="*/ 148685 h 192243"/>
                <a:gd name="connsiteX1" fmla="*/ 342898 w 907164"/>
                <a:gd name="connsiteY1" fmla="*/ 139461 h 192243"/>
                <a:gd name="connsiteX2" fmla="*/ 351635 w 907164"/>
                <a:gd name="connsiteY2" fmla="*/ 139461 h 192243"/>
                <a:gd name="connsiteX3" fmla="*/ 351635 w 907164"/>
                <a:gd name="connsiteY3" fmla="*/ 60048 h 192243"/>
                <a:gd name="connsiteX4" fmla="*/ 342898 w 907164"/>
                <a:gd name="connsiteY4" fmla="*/ 60048 h 192243"/>
                <a:gd name="connsiteX5" fmla="*/ 342898 w 907164"/>
                <a:gd name="connsiteY5" fmla="*/ 50519 h 192243"/>
                <a:gd name="connsiteX6" fmla="*/ 382736 w 907164"/>
                <a:gd name="connsiteY6" fmla="*/ 50519 h 192243"/>
                <a:gd name="connsiteX7" fmla="*/ 382736 w 907164"/>
                <a:gd name="connsiteY7" fmla="*/ 139461 h 192243"/>
                <a:gd name="connsiteX8" fmla="*/ 391779 w 907164"/>
                <a:gd name="connsiteY8" fmla="*/ 139461 h 192243"/>
                <a:gd name="connsiteX9" fmla="*/ 391779 w 907164"/>
                <a:gd name="connsiteY9" fmla="*/ 148685 h 192243"/>
                <a:gd name="connsiteX10" fmla="*/ 812764 w 907164"/>
                <a:gd name="connsiteY10" fmla="*/ 137017 h 192243"/>
                <a:gd name="connsiteX11" fmla="*/ 812764 w 907164"/>
                <a:gd name="connsiteY11" fmla="*/ 137017 h 192243"/>
                <a:gd name="connsiteX12" fmla="*/ 787040 w 907164"/>
                <a:gd name="connsiteY12" fmla="*/ 150640 h 192243"/>
                <a:gd name="connsiteX13" fmla="*/ 761256 w 907164"/>
                <a:gd name="connsiteY13" fmla="*/ 120463 h 192243"/>
                <a:gd name="connsiteX14" fmla="*/ 797916 w 907164"/>
                <a:gd name="connsiteY14" fmla="*/ 88392 h 192243"/>
                <a:gd name="connsiteX15" fmla="*/ 812030 w 907164"/>
                <a:gd name="connsiteY15" fmla="*/ 90347 h 192243"/>
                <a:gd name="connsiteX16" fmla="*/ 812030 w 907164"/>
                <a:gd name="connsiteY16" fmla="*/ 84239 h 192243"/>
                <a:gd name="connsiteX17" fmla="*/ 797122 w 907164"/>
                <a:gd name="connsiteY17" fmla="*/ 66295 h 192243"/>
                <a:gd name="connsiteX18" fmla="*/ 796939 w 907164"/>
                <a:gd name="connsiteY18" fmla="*/ 66279 h 192243"/>
                <a:gd name="connsiteX19" fmla="*/ 794006 w 907164"/>
                <a:gd name="connsiteY19" fmla="*/ 66279 h 192243"/>
                <a:gd name="connsiteX20" fmla="*/ 771643 w 907164"/>
                <a:gd name="connsiteY20" fmla="*/ 77947 h 192243"/>
                <a:gd name="connsiteX21" fmla="*/ 766327 w 907164"/>
                <a:gd name="connsiteY21" fmla="*/ 71105 h 192243"/>
                <a:gd name="connsiteX22" fmla="*/ 805004 w 907164"/>
                <a:gd name="connsiteY22" fmla="*/ 48503 h 192243"/>
                <a:gd name="connsiteX23" fmla="*/ 842947 w 907164"/>
                <a:gd name="connsiteY23" fmla="*/ 83994 h 192243"/>
                <a:gd name="connsiteX24" fmla="*/ 842947 w 907164"/>
                <a:gd name="connsiteY24" fmla="*/ 139400 h 192243"/>
                <a:gd name="connsiteX25" fmla="*/ 853151 w 907164"/>
                <a:gd name="connsiteY25" fmla="*/ 139400 h 192243"/>
                <a:gd name="connsiteX26" fmla="*/ 853151 w 907164"/>
                <a:gd name="connsiteY26" fmla="*/ 148685 h 192243"/>
                <a:gd name="connsiteX27" fmla="*/ 813375 w 907164"/>
                <a:gd name="connsiteY27" fmla="*/ 148685 h 192243"/>
                <a:gd name="connsiteX28" fmla="*/ 811847 w 907164"/>
                <a:gd name="connsiteY28" fmla="*/ 100060 h 192243"/>
                <a:gd name="connsiteX29" fmla="*/ 805004 w 907164"/>
                <a:gd name="connsiteY29" fmla="*/ 98166 h 192243"/>
                <a:gd name="connsiteX30" fmla="*/ 793822 w 907164"/>
                <a:gd name="connsiteY30" fmla="*/ 116492 h 192243"/>
                <a:gd name="connsiteX31" fmla="*/ 804515 w 907164"/>
                <a:gd name="connsiteY31" fmla="*/ 132986 h 192243"/>
                <a:gd name="connsiteX32" fmla="*/ 811847 w 907164"/>
                <a:gd name="connsiteY32" fmla="*/ 130054 h 192243"/>
                <a:gd name="connsiteX33" fmla="*/ 894944 w 907164"/>
                <a:gd name="connsiteY33" fmla="*/ 139461 h 192243"/>
                <a:gd name="connsiteX34" fmla="*/ 907164 w 907164"/>
                <a:gd name="connsiteY34" fmla="*/ 139461 h 192243"/>
                <a:gd name="connsiteX35" fmla="*/ 907164 w 907164"/>
                <a:gd name="connsiteY35" fmla="*/ 148685 h 192243"/>
                <a:gd name="connsiteX36" fmla="*/ 863966 w 907164"/>
                <a:gd name="connsiteY36" fmla="*/ 148685 h 192243"/>
                <a:gd name="connsiteX37" fmla="*/ 863966 w 907164"/>
                <a:gd name="connsiteY37" fmla="*/ 24068 h 192243"/>
                <a:gd name="connsiteX38" fmla="*/ 853273 w 907164"/>
                <a:gd name="connsiteY38" fmla="*/ 24068 h 192243"/>
                <a:gd name="connsiteX39" fmla="*/ 853273 w 907164"/>
                <a:gd name="connsiteY39" fmla="*/ 14600 h 192243"/>
                <a:gd name="connsiteX40" fmla="*/ 895066 w 907164"/>
                <a:gd name="connsiteY40" fmla="*/ 14600 h 192243"/>
                <a:gd name="connsiteX41" fmla="*/ 321513 w 907164"/>
                <a:gd name="connsiteY41" fmla="*/ 59254 h 192243"/>
                <a:gd name="connsiteX42" fmla="*/ 321513 w 907164"/>
                <a:gd name="connsiteY42" fmla="*/ 131642 h 192243"/>
                <a:gd name="connsiteX43" fmla="*/ 326616 w 907164"/>
                <a:gd name="connsiteY43" fmla="*/ 137736 h 192243"/>
                <a:gd name="connsiteX44" fmla="*/ 326829 w 907164"/>
                <a:gd name="connsiteY44" fmla="*/ 137751 h 192243"/>
                <a:gd name="connsiteX45" fmla="*/ 327806 w 907164"/>
                <a:gd name="connsiteY45" fmla="*/ 137751 h 192243"/>
                <a:gd name="connsiteX46" fmla="*/ 333916 w 907164"/>
                <a:gd name="connsiteY46" fmla="*/ 136773 h 192243"/>
                <a:gd name="connsiteX47" fmla="*/ 333916 w 907164"/>
                <a:gd name="connsiteY47" fmla="*/ 145509 h 192243"/>
                <a:gd name="connsiteX48" fmla="*/ 314975 w 907164"/>
                <a:gd name="connsiteY48" fmla="*/ 149418 h 192243"/>
                <a:gd name="connsiteX49" fmla="*/ 290535 w 907164"/>
                <a:gd name="connsiteY49" fmla="*/ 126083 h 192243"/>
                <a:gd name="connsiteX50" fmla="*/ 290535 w 907164"/>
                <a:gd name="connsiteY50" fmla="*/ 59743 h 192243"/>
                <a:gd name="connsiteX51" fmla="*/ 280209 w 907164"/>
                <a:gd name="connsiteY51" fmla="*/ 59743 h 192243"/>
                <a:gd name="connsiteX52" fmla="*/ 280209 w 907164"/>
                <a:gd name="connsiteY52" fmla="*/ 53634 h 192243"/>
                <a:gd name="connsiteX53" fmla="*/ 316136 w 907164"/>
                <a:gd name="connsiteY53" fmla="*/ 24984 h 192243"/>
                <a:gd name="connsiteX54" fmla="*/ 322246 w 907164"/>
                <a:gd name="connsiteY54" fmla="*/ 24984 h 192243"/>
                <a:gd name="connsiteX55" fmla="*/ 322246 w 907164"/>
                <a:gd name="connsiteY55" fmla="*/ 50702 h 192243"/>
                <a:gd name="connsiteX56" fmla="*/ 334466 w 907164"/>
                <a:gd name="connsiteY56" fmla="*/ 50702 h 192243"/>
                <a:gd name="connsiteX57" fmla="*/ 334466 w 907164"/>
                <a:gd name="connsiteY57" fmla="*/ 59437 h 192243"/>
                <a:gd name="connsiteX58" fmla="*/ 348214 w 907164"/>
                <a:gd name="connsiteY58" fmla="*/ 24068 h 192243"/>
                <a:gd name="connsiteX59" fmla="*/ 367155 w 907164"/>
                <a:gd name="connsiteY59" fmla="*/ 38607 h 192243"/>
                <a:gd name="connsiteX60" fmla="*/ 386096 w 907164"/>
                <a:gd name="connsiteY60" fmla="*/ 24068 h 192243"/>
                <a:gd name="connsiteX61" fmla="*/ 367338 w 907164"/>
                <a:gd name="connsiteY61" fmla="*/ 9713 h 192243"/>
                <a:gd name="connsiteX62" fmla="*/ 348397 w 907164"/>
                <a:gd name="connsiteY62" fmla="*/ 24313 h 192243"/>
                <a:gd name="connsiteX63" fmla="*/ 237132 w 907164"/>
                <a:gd name="connsiteY63" fmla="*/ 81123 h 192243"/>
                <a:gd name="connsiteX64" fmla="*/ 226929 w 907164"/>
                <a:gd name="connsiteY64" fmla="*/ 65607 h 192243"/>
                <a:gd name="connsiteX65" fmla="*/ 216236 w 907164"/>
                <a:gd name="connsiteY65" fmla="*/ 81123 h 192243"/>
                <a:gd name="connsiteX66" fmla="*/ 216236 w 907164"/>
                <a:gd name="connsiteY66" fmla="*/ 138972 h 192243"/>
                <a:gd name="connsiteX67" fmla="*/ 224973 w 907164"/>
                <a:gd name="connsiteY67" fmla="*/ 138972 h 192243"/>
                <a:gd name="connsiteX68" fmla="*/ 224973 w 907164"/>
                <a:gd name="connsiteY68" fmla="*/ 148196 h 192243"/>
                <a:gd name="connsiteX69" fmla="*/ 176093 w 907164"/>
                <a:gd name="connsiteY69" fmla="*/ 148196 h 192243"/>
                <a:gd name="connsiteX70" fmla="*/ 176093 w 907164"/>
                <a:gd name="connsiteY70" fmla="*/ 138972 h 192243"/>
                <a:gd name="connsiteX71" fmla="*/ 185319 w 907164"/>
                <a:gd name="connsiteY71" fmla="*/ 138972 h 192243"/>
                <a:gd name="connsiteX72" fmla="*/ 185319 w 907164"/>
                <a:gd name="connsiteY72" fmla="*/ 59560 h 192243"/>
                <a:gd name="connsiteX73" fmla="*/ 176215 w 907164"/>
                <a:gd name="connsiteY73" fmla="*/ 59560 h 192243"/>
                <a:gd name="connsiteX74" fmla="*/ 176215 w 907164"/>
                <a:gd name="connsiteY74" fmla="*/ 50519 h 192243"/>
                <a:gd name="connsiteX75" fmla="*/ 214586 w 907164"/>
                <a:gd name="connsiteY75" fmla="*/ 50519 h 192243"/>
                <a:gd name="connsiteX76" fmla="*/ 214586 w 907164"/>
                <a:gd name="connsiteY76" fmla="*/ 65607 h 192243"/>
                <a:gd name="connsiteX77" fmla="*/ 215075 w 907164"/>
                <a:gd name="connsiteY77" fmla="*/ 65607 h 192243"/>
                <a:gd name="connsiteX78" fmla="*/ 240798 w 907164"/>
                <a:gd name="connsiteY78" fmla="*/ 48503 h 192243"/>
                <a:gd name="connsiteX79" fmla="*/ 266583 w 907164"/>
                <a:gd name="connsiteY79" fmla="*/ 68906 h 192243"/>
                <a:gd name="connsiteX80" fmla="*/ 268049 w 907164"/>
                <a:gd name="connsiteY80" fmla="*/ 85155 h 192243"/>
                <a:gd name="connsiteX81" fmla="*/ 268049 w 907164"/>
                <a:gd name="connsiteY81" fmla="*/ 139583 h 192243"/>
                <a:gd name="connsiteX82" fmla="*/ 279720 w 907164"/>
                <a:gd name="connsiteY82" fmla="*/ 139583 h 192243"/>
                <a:gd name="connsiteX83" fmla="*/ 279720 w 907164"/>
                <a:gd name="connsiteY83" fmla="*/ 148685 h 192243"/>
                <a:gd name="connsiteX84" fmla="*/ 236949 w 907164"/>
                <a:gd name="connsiteY84" fmla="*/ 148685 h 192243"/>
                <a:gd name="connsiteX85" fmla="*/ 68983 w 907164"/>
                <a:gd name="connsiteY85" fmla="*/ 100060 h 192243"/>
                <a:gd name="connsiteX86" fmla="*/ 118536 w 907164"/>
                <a:gd name="connsiteY86" fmla="*/ 154000 h 192243"/>
                <a:gd name="connsiteX87" fmla="*/ 168088 w 907164"/>
                <a:gd name="connsiteY87" fmla="*/ 100060 h 192243"/>
                <a:gd name="connsiteX88" fmla="*/ 118536 w 907164"/>
                <a:gd name="connsiteY88" fmla="*/ 45693 h 192243"/>
                <a:gd name="connsiteX89" fmla="*/ 68983 w 907164"/>
                <a:gd name="connsiteY89" fmla="*/ 100060 h 192243"/>
                <a:gd name="connsiteX90" fmla="*/ 105643 w 907164"/>
                <a:gd name="connsiteY90" fmla="*/ 99571 h 192243"/>
                <a:gd name="connsiteX91" fmla="*/ 118780 w 907164"/>
                <a:gd name="connsiteY91" fmla="*/ 56383 h 192243"/>
                <a:gd name="connsiteX92" fmla="*/ 131917 w 907164"/>
                <a:gd name="connsiteY92" fmla="*/ 99571 h 192243"/>
                <a:gd name="connsiteX93" fmla="*/ 118780 w 907164"/>
                <a:gd name="connsiteY93" fmla="*/ 142821 h 192243"/>
                <a:gd name="connsiteX94" fmla="*/ 105216 w 907164"/>
                <a:gd name="connsiteY94" fmla="*/ 99571 h 192243"/>
                <a:gd name="connsiteX95" fmla="*/ 538421 w 907164"/>
                <a:gd name="connsiteY95" fmla="*/ 94745 h 192243"/>
                <a:gd name="connsiteX96" fmla="*/ 549113 w 907164"/>
                <a:gd name="connsiteY96" fmla="*/ 59254 h 192243"/>
                <a:gd name="connsiteX97" fmla="*/ 560295 w 907164"/>
                <a:gd name="connsiteY97" fmla="*/ 94745 h 192243"/>
                <a:gd name="connsiteX98" fmla="*/ 583574 w 907164"/>
                <a:gd name="connsiteY98" fmla="*/ 122906 h 192243"/>
                <a:gd name="connsiteX99" fmla="*/ 562189 w 907164"/>
                <a:gd name="connsiteY99" fmla="*/ 132131 h 192243"/>
                <a:gd name="connsiteX100" fmla="*/ 538910 w 907164"/>
                <a:gd name="connsiteY100" fmla="*/ 104458 h 192243"/>
                <a:gd name="connsiteX101" fmla="*/ 591395 w 907164"/>
                <a:gd name="connsiteY101" fmla="*/ 104458 h 192243"/>
                <a:gd name="connsiteX102" fmla="*/ 591884 w 907164"/>
                <a:gd name="connsiteY102" fmla="*/ 97189 h 192243"/>
                <a:gd name="connsiteX103" fmla="*/ 551069 w 907164"/>
                <a:gd name="connsiteY103" fmla="*/ 49053 h 192243"/>
                <a:gd name="connsiteX104" fmla="*/ 506343 w 907164"/>
                <a:gd name="connsiteY104" fmla="*/ 100060 h 192243"/>
                <a:gd name="connsiteX105" fmla="*/ 551069 w 907164"/>
                <a:gd name="connsiteY105" fmla="*/ 150640 h 192243"/>
                <a:gd name="connsiteX106" fmla="*/ 589257 w 907164"/>
                <a:gd name="connsiteY106" fmla="*/ 127916 h 192243"/>
                <a:gd name="connsiteX107" fmla="*/ 131428 w 907164"/>
                <a:gd name="connsiteY107" fmla="*/ 0 h 192243"/>
                <a:gd name="connsiteX108" fmla="*/ 165706 w 907164"/>
                <a:gd name="connsiteY108" fmla="*/ 36285 h 192243"/>
                <a:gd name="connsiteX109" fmla="*/ 165706 w 907164"/>
                <a:gd name="connsiteY109" fmla="*/ 45510 h 192243"/>
                <a:gd name="connsiteX110" fmla="*/ 114686 w 907164"/>
                <a:gd name="connsiteY110" fmla="*/ 25595 h 192243"/>
                <a:gd name="connsiteX111" fmla="*/ 42771 w 907164"/>
                <a:gd name="connsiteY111" fmla="*/ 100365 h 192243"/>
                <a:gd name="connsiteX112" fmla="*/ 114686 w 907164"/>
                <a:gd name="connsiteY112" fmla="*/ 174708 h 192243"/>
                <a:gd name="connsiteX113" fmla="*/ 165706 w 907164"/>
                <a:gd name="connsiteY113" fmla="*/ 152350 h 192243"/>
                <a:gd name="connsiteX114" fmla="*/ 165706 w 907164"/>
                <a:gd name="connsiteY114" fmla="*/ 161147 h 192243"/>
                <a:gd name="connsiteX115" fmla="*/ 95256 w 907164"/>
                <a:gd name="connsiteY115" fmla="*/ 192240 h 192243"/>
                <a:gd name="connsiteX116" fmla="*/ 0 w 907164"/>
                <a:gd name="connsiteY116" fmla="*/ 99877 h 192243"/>
                <a:gd name="connsiteX117" fmla="*/ 94819 w 907164"/>
                <a:gd name="connsiteY117" fmla="*/ 6779 h 192243"/>
                <a:gd name="connsiteX118" fmla="*/ 95012 w 907164"/>
                <a:gd name="connsiteY118" fmla="*/ 6781 h 192243"/>
                <a:gd name="connsiteX119" fmla="*/ 95501 w 907164"/>
                <a:gd name="connsiteY119" fmla="*/ 6781 h 192243"/>
                <a:gd name="connsiteX120" fmla="*/ 131000 w 907164"/>
                <a:gd name="connsiteY120" fmla="*/ 12889 h 192243"/>
                <a:gd name="connsiteX121" fmla="*/ 131000 w 907164"/>
                <a:gd name="connsiteY121" fmla="*/ 0 h 192243"/>
                <a:gd name="connsiteX122" fmla="*/ 744208 w 907164"/>
                <a:gd name="connsiteY122" fmla="*/ 59254 h 192243"/>
                <a:gd name="connsiteX123" fmla="*/ 744208 w 907164"/>
                <a:gd name="connsiteY123" fmla="*/ 131642 h 192243"/>
                <a:gd name="connsiteX124" fmla="*/ 749310 w 907164"/>
                <a:gd name="connsiteY124" fmla="*/ 137736 h 192243"/>
                <a:gd name="connsiteX125" fmla="*/ 749524 w 907164"/>
                <a:gd name="connsiteY125" fmla="*/ 137751 h 192243"/>
                <a:gd name="connsiteX126" fmla="*/ 750502 w 907164"/>
                <a:gd name="connsiteY126" fmla="*/ 137751 h 192243"/>
                <a:gd name="connsiteX127" fmla="*/ 756612 w 907164"/>
                <a:gd name="connsiteY127" fmla="*/ 136773 h 192243"/>
                <a:gd name="connsiteX128" fmla="*/ 756612 w 907164"/>
                <a:gd name="connsiteY128" fmla="*/ 145509 h 192243"/>
                <a:gd name="connsiteX129" fmla="*/ 737671 w 907164"/>
                <a:gd name="connsiteY129" fmla="*/ 149418 h 192243"/>
                <a:gd name="connsiteX130" fmla="*/ 713230 w 907164"/>
                <a:gd name="connsiteY130" fmla="*/ 126083 h 192243"/>
                <a:gd name="connsiteX131" fmla="*/ 713230 w 907164"/>
                <a:gd name="connsiteY131" fmla="*/ 59743 h 192243"/>
                <a:gd name="connsiteX132" fmla="*/ 703027 w 907164"/>
                <a:gd name="connsiteY132" fmla="*/ 59743 h 192243"/>
                <a:gd name="connsiteX133" fmla="*/ 703027 w 907164"/>
                <a:gd name="connsiteY133" fmla="*/ 53634 h 192243"/>
                <a:gd name="connsiteX134" fmla="*/ 739015 w 907164"/>
                <a:gd name="connsiteY134" fmla="*/ 24984 h 192243"/>
                <a:gd name="connsiteX135" fmla="*/ 745125 w 907164"/>
                <a:gd name="connsiteY135" fmla="*/ 24984 h 192243"/>
                <a:gd name="connsiteX136" fmla="*/ 745125 w 907164"/>
                <a:gd name="connsiteY136" fmla="*/ 50702 h 192243"/>
                <a:gd name="connsiteX137" fmla="*/ 760156 w 907164"/>
                <a:gd name="connsiteY137" fmla="*/ 50702 h 192243"/>
                <a:gd name="connsiteX138" fmla="*/ 760156 w 907164"/>
                <a:gd name="connsiteY138" fmla="*/ 59437 h 192243"/>
                <a:gd name="connsiteX139" fmla="*/ 460884 w 907164"/>
                <a:gd name="connsiteY139" fmla="*/ 81123 h 192243"/>
                <a:gd name="connsiteX140" fmla="*/ 450680 w 907164"/>
                <a:gd name="connsiteY140" fmla="*/ 65607 h 192243"/>
                <a:gd name="connsiteX141" fmla="*/ 439987 w 907164"/>
                <a:gd name="connsiteY141" fmla="*/ 81123 h 192243"/>
                <a:gd name="connsiteX142" fmla="*/ 439987 w 907164"/>
                <a:gd name="connsiteY142" fmla="*/ 138972 h 192243"/>
                <a:gd name="connsiteX143" fmla="*/ 448725 w 907164"/>
                <a:gd name="connsiteY143" fmla="*/ 138972 h 192243"/>
                <a:gd name="connsiteX144" fmla="*/ 448725 w 907164"/>
                <a:gd name="connsiteY144" fmla="*/ 148196 h 192243"/>
                <a:gd name="connsiteX145" fmla="*/ 399233 w 907164"/>
                <a:gd name="connsiteY145" fmla="*/ 148196 h 192243"/>
                <a:gd name="connsiteX146" fmla="*/ 399233 w 907164"/>
                <a:gd name="connsiteY146" fmla="*/ 138972 h 192243"/>
                <a:gd name="connsiteX147" fmla="*/ 408459 w 907164"/>
                <a:gd name="connsiteY147" fmla="*/ 138972 h 192243"/>
                <a:gd name="connsiteX148" fmla="*/ 408459 w 907164"/>
                <a:gd name="connsiteY148" fmla="*/ 59560 h 192243"/>
                <a:gd name="connsiteX149" fmla="*/ 399233 w 907164"/>
                <a:gd name="connsiteY149" fmla="*/ 59560 h 192243"/>
                <a:gd name="connsiteX150" fmla="*/ 399233 w 907164"/>
                <a:gd name="connsiteY150" fmla="*/ 50519 h 192243"/>
                <a:gd name="connsiteX151" fmla="*/ 437604 w 907164"/>
                <a:gd name="connsiteY151" fmla="*/ 50519 h 192243"/>
                <a:gd name="connsiteX152" fmla="*/ 437604 w 907164"/>
                <a:gd name="connsiteY152" fmla="*/ 65607 h 192243"/>
                <a:gd name="connsiteX153" fmla="*/ 438093 w 907164"/>
                <a:gd name="connsiteY153" fmla="*/ 65607 h 192243"/>
                <a:gd name="connsiteX154" fmla="*/ 463878 w 907164"/>
                <a:gd name="connsiteY154" fmla="*/ 48503 h 192243"/>
                <a:gd name="connsiteX155" fmla="*/ 489540 w 907164"/>
                <a:gd name="connsiteY155" fmla="*/ 68967 h 192243"/>
                <a:gd name="connsiteX156" fmla="*/ 491006 w 907164"/>
                <a:gd name="connsiteY156" fmla="*/ 85033 h 192243"/>
                <a:gd name="connsiteX157" fmla="*/ 491006 w 907164"/>
                <a:gd name="connsiteY157" fmla="*/ 139461 h 192243"/>
                <a:gd name="connsiteX158" fmla="*/ 502677 w 907164"/>
                <a:gd name="connsiteY158" fmla="*/ 139461 h 192243"/>
                <a:gd name="connsiteX159" fmla="*/ 502677 w 907164"/>
                <a:gd name="connsiteY159" fmla="*/ 148685 h 192243"/>
                <a:gd name="connsiteX160" fmla="*/ 459906 w 907164"/>
                <a:gd name="connsiteY160" fmla="*/ 148685 h 192243"/>
                <a:gd name="connsiteX161" fmla="*/ 460884 w 907164"/>
                <a:gd name="connsiteY161" fmla="*/ 81123 h 192243"/>
                <a:gd name="connsiteX162" fmla="*/ 659156 w 907164"/>
                <a:gd name="connsiteY162" fmla="*/ 81612 h 192243"/>
                <a:gd name="connsiteX163" fmla="*/ 648952 w 907164"/>
                <a:gd name="connsiteY163" fmla="*/ 66096 h 192243"/>
                <a:gd name="connsiteX164" fmla="*/ 638260 w 907164"/>
                <a:gd name="connsiteY164" fmla="*/ 81612 h 192243"/>
                <a:gd name="connsiteX165" fmla="*/ 638260 w 907164"/>
                <a:gd name="connsiteY165" fmla="*/ 139461 h 192243"/>
                <a:gd name="connsiteX166" fmla="*/ 646997 w 907164"/>
                <a:gd name="connsiteY166" fmla="*/ 139461 h 192243"/>
                <a:gd name="connsiteX167" fmla="*/ 646997 w 907164"/>
                <a:gd name="connsiteY167" fmla="*/ 148685 h 192243"/>
                <a:gd name="connsiteX168" fmla="*/ 598116 w 907164"/>
                <a:gd name="connsiteY168" fmla="*/ 148685 h 192243"/>
                <a:gd name="connsiteX169" fmla="*/ 598116 w 907164"/>
                <a:gd name="connsiteY169" fmla="*/ 139461 h 192243"/>
                <a:gd name="connsiteX170" fmla="*/ 607343 w 907164"/>
                <a:gd name="connsiteY170" fmla="*/ 139461 h 192243"/>
                <a:gd name="connsiteX171" fmla="*/ 607343 w 907164"/>
                <a:gd name="connsiteY171" fmla="*/ 60048 h 192243"/>
                <a:gd name="connsiteX172" fmla="*/ 598116 w 907164"/>
                <a:gd name="connsiteY172" fmla="*/ 60048 h 192243"/>
                <a:gd name="connsiteX173" fmla="*/ 598116 w 907164"/>
                <a:gd name="connsiteY173" fmla="*/ 50519 h 192243"/>
                <a:gd name="connsiteX174" fmla="*/ 636182 w 907164"/>
                <a:gd name="connsiteY174" fmla="*/ 50519 h 192243"/>
                <a:gd name="connsiteX175" fmla="*/ 636182 w 907164"/>
                <a:gd name="connsiteY175" fmla="*/ 65607 h 192243"/>
                <a:gd name="connsiteX176" fmla="*/ 636671 w 907164"/>
                <a:gd name="connsiteY176" fmla="*/ 65607 h 192243"/>
                <a:gd name="connsiteX177" fmla="*/ 662639 w 907164"/>
                <a:gd name="connsiteY177" fmla="*/ 48503 h 192243"/>
                <a:gd name="connsiteX178" fmla="*/ 688362 w 907164"/>
                <a:gd name="connsiteY178" fmla="*/ 68906 h 192243"/>
                <a:gd name="connsiteX179" fmla="*/ 689829 w 907164"/>
                <a:gd name="connsiteY179" fmla="*/ 84972 h 192243"/>
                <a:gd name="connsiteX180" fmla="*/ 689829 w 907164"/>
                <a:gd name="connsiteY180" fmla="*/ 139400 h 192243"/>
                <a:gd name="connsiteX181" fmla="*/ 701499 w 907164"/>
                <a:gd name="connsiteY181" fmla="*/ 139400 h 192243"/>
                <a:gd name="connsiteX182" fmla="*/ 701499 w 907164"/>
                <a:gd name="connsiteY182" fmla="*/ 148685 h 192243"/>
                <a:gd name="connsiteX183" fmla="*/ 658728 w 907164"/>
                <a:gd name="connsiteY183" fmla="*/ 148685 h 192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907164" h="192243">
                  <a:moveTo>
                    <a:pt x="342898" y="148685"/>
                  </a:moveTo>
                  <a:lnTo>
                    <a:pt x="342898" y="139461"/>
                  </a:lnTo>
                  <a:lnTo>
                    <a:pt x="351635" y="139461"/>
                  </a:lnTo>
                  <a:lnTo>
                    <a:pt x="351635" y="60048"/>
                  </a:lnTo>
                  <a:lnTo>
                    <a:pt x="342898" y="60048"/>
                  </a:lnTo>
                  <a:lnTo>
                    <a:pt x="342898" y="50519"/>
                  </a:lnTo>
                  <a:lnTo>
                    <a:pt x="382736" y="50519"/>
                  </a:lnTo>
                  <a:lnTo>
                    <a:pt x="382736" y="139461"/>
                  </a:lnTo>
                  <a:lnTo>
                    <a:pt x="391779" y="139461"/>
                  </a:lnTo>
                  <a:lnTo>
                    <a:pt x="391779" y="148685"/>
                  </a:lnTo>
                  <a:close/>
                  <a:moveTo>
                    <a:pt x="812764" y="137017"/>
                  </a:moveTo>
                  <a:lnTo>
                    <a:pt x="812764" y="137017"/>
                  </a:lnTo>
                  <a:cubicBezTo>
                    <a:pt x="807045" y="145613"/>
                    <a:pt x="797366" y="150738"/>
                    <a:pt x="787040" y="150640"/>
                  </a:cubicBezTo>
                  <a:cubicBezTo>
                    <a:pt x="770971" y="150640"/>
                    <a:pt x="761256" y="137017"/>
                    <a:pt x="761256" y="120463"/>
                  </a:cubicBezTo>
                  <a:cubicBezTo>
                    <a:pt x="761256" y="101037"/>
                    <a:pt x="775370" y="88392"/>
                    <a:pt x="797916" y="88392"/>
                  </a:cubicBezTo>
                  <a:cubicBezTo>
                    <a:pt x="802694" y="88291"/>
                    <a:pt x="807460" y="88951"/>
                    <a:pt x="812030" y="90347"/>
                  </a:cubicBezTo>
                  <a:lnTo>
                    <a:pt x="812030" y="84239"/>
                  </a:lnTo>
                  <a:cubicBezTo>
                    <a:pt x="812868" y="75168"/>
                    <a:pt x="806195" y="67135"/>
                    <a:pt x="797122" y="66295"/>
                  </a:cubicBezTo>
                  <a:cubicBezTo>
                    <a:pt x="797061" y="66289"/>
                    <a:pt x="797000" y="66284"/>
                    <a:pt x="796939" y="66279"/>
                  </a:cubicBezTo>
                  <a:lnTo>
                    <a:pt x="794006" y="66279"/>
                  </a:lnTo>
                  <a:cubicBezTo>
                    <a:pt x="785116" y="66379"/>
                    <a:pt x="776806" y="70713"/>
                    <a:pt x="771643" y="77947"/>
                  </a:cubicBezTo>
                  <a:lnTo>
                    <a:pt x="766327" y="71105"/>
                  </a:lnTo>
                  <a:cubicBezTo>
                    <a:pt x="774539" y="57491"/>
                    <a:pt x="789105" y="48978"/>
                    <a:pt x="805004" y="48503"/>
                  </a:cubicBezTo>
                  <a:cubicBezTo>
                    <a:pt x="828833" y="48503"/>
                    <a:pt x="842947" y="62614"/>
                    <a:pt x="842947" y="83994"/>
                  </a:cubicBezTo>
                  <a:lnTo>
                    <a:pt x="842947" y="139400"/>
                  </a:lnTo>
                  <a:lnTo>
                    <a:pt x="853151" y="139400"/>
                  </a:lnTo>
                  <a:lnTo>
                    <a:pt x="853151" y="148685"/>
                  </a:lnTo>
                  <a:lnTo>
                    <a:pt x="813375" y="148685"/>
                  </a:lnTo>
                  <a:close/>
                  <a:moveTo>
                    <a:pt x="811847" y="100060"/>
                  </a:moveTo>
                  <a:cubicBezTo>
                    <a:pt x="809922" y="98516"/>
                    <a:pt x="807448" y="97831"/>
                    <a:pt x="805004" y="98166"/>
                  </a:cubicBezTo>
                  <a:cubicBezTo>
                    <a:pt x="795778" y="98166"/>
                    <a:pt x="793822" y="107390"/>
                    <a:pt x="793822" y="116492"/>
                  </a:cubicBezTo>
                  <a:cubicBezTo>
                    <a:pt x="793822" y="125594"/>
                    <a:pt x="796755" y="132986"/>
                    <a:pt x="804515" y="132986"/>
                  </a:cubicBezTo>
                  <a:cubicBezTo>
                    <a:pt x="807295" y="133295"/>
                    <a:pt x="810045" y="132195"/>
                    <a:pt x="811847" y="130054"/>
                  </a:cubicBezTo>
                  <a:close/>
                  <a:moveTo>
                    <a:pt x="894944" y="139461"/>
                  </a:moveTo>
                  <a:lnTo>
                    <a:pt x="907164" y="139461"/>
                  </a:lnTo>
                  <a:lnTo>
                    <a:pt x="907164" y="148685"/>
                  </a:lnTo>
                  <a:lnTo>
                    <a:pt x="863966" y="148685"/>
                  </a:lnTo>
                  <a:lnTo>
                    <a:pt x="863966" y="24068"/>
                  </a:lnTo>
                  <a:lnTo>
                    <a:pt x="853273" y="24068"/>
                  </a:lnTo>
                  <a:lnTo>
                    <a:pt x="853273" y="14600"/>
                  </a:lnTo>
                  <a:lnTo>
                    <a:pt x="895066" y="14600"/>
                  </a:lnTo>
                  <a:close/>
                  <a:moveTo>
                    <a:pt x="321513" y="59254"/>
                  </a:moveTo>
                  <a:lnTo>
                    <a:pt x="321513" y="131642"/>
                  </a:lnTo>
                  <a:cubicBezTo>
                    <a:pt x="321239" y="134733"/>
                    <a:pt x="323524" y="137462"/>
                    <a:pt x="326616" y="137736"/>
                  </a:cubicBezTo>
                  <a:cubicBezTo>
                    <a:pt x="326687" y="137742"/>
                    <a:pt x="326758" y="137747"/>
                    <a:pt x="326829" y="137751"/>
                  </a:cubicBezTo>
                  <a:lnTo>
                    <a:pt x="327806" y="137751"/>
                  </a:lnTo>
                  <a:cubicBezTo>
                    <a:pt x="329877" y="137694"/>
                    <a:pt x="331931" y="137366"/>
                    <a:pt x="333916" y="136773"/>
                  </a:cubicBezTo>
                  <a:lnTo>
                    <a:pt x="333916" y="145509"/>
                  </a:lnTo>
                  <a:cubicBezTo>
                    <a:pt x="328066" y="148483"/>
                    <a:pt x="321525" y="149833"/>
                    <a:pt x="314975" y="149418"/>
                  </a:cubicBezTo>
                  <a:cubicBezTo>
                    <a:pt x="299944" y="149418"/>
                    <a:pt x="290535" y="142088"/>
                    <a:pt x="290535" y="126083"/>
                  </a:cubicBezTo>
                  <a:lnTo>
                    <a:pt x="290535" y="59743"/>
                  </a:lnTo>
                  <a:lnTo>
                    <a:pt x="280209" y="59743"/>
                  </a:lnTo>
                  <a:lnTo>
                    <a:pt x="280209" y="53634"/>
                  </a:lnTo>
                  <a:cubicBezTo>
                    <a:pt x="291818" y="44410"/>
                    <a:pt x="305443" y="33720"/>
                    <a:pt x="316136" y="24984"/>
                  </a:cubicBezTo>
                  <a:lnTo>
                    <a:pt x="322246" y="24984"/>
                  </a:lnTo>
                  <a:lnTo>
                    <a:pt x="322246" y="50702"/>
                  </a:lnTo>
                  <a:lnTo>
                    <a:pt x="334466" y="50702"/>
                  </a:lnTo>
                  <a:lnTo>
                    <a:pt x="334466" y="59437"/>
                  </a:lnTo>
                  <a:close/>
                  <a:moveTo>
                    <a:pt x="348214" y="24068"/>
                  </a:moveTo>
                  <a:cubicBezTo>
                    <a:pt x="348214" y="32804"/>
                    <a:pt x="355974" y="38607"/>
                    <a:pt x="367155" y="38607"/>
                  </a:cubicBezTo>
                  <a:cubicBezTo>
                    <a:pt x="378337" y="38607"/>
                    <a:pt x="386096" y="32498"/>
                    <a:pt x="386096" y="24068"/>
                  </a:cubicBezTo>
                  <a:cubicBezTo>
                    <a:pt x="386096" y="15638"/>
                    <a:pt x="378337" y="9713"/>
                    <a:pt x="367338" y="9713"/>
                  </a:cubicBezTo>
                  <a:cubicBezTo>
                    <a:pt x="356340" y="9713"/>
                    <a:pt x="348397" y="15821"/>
                    <a:pt x="348397" y="24313"/>
                  </a:cubicBezTo>
                  <a:moveTo>
                    <a:pt x="237132" y="81123"/>
                  </a:moveTo>
                  <a:cubicBezTo>
                    <a:pt x="237132" y="72388"/>
                    <a:pt x="234200" y="65607"/>
                    <a:pt x="226929" y="65607"/>
                  </a:cubicBezTo>
                  <a:cubicBezTo>
                    <a:pt x="219658" y="65607"/>
                    <a:pt x="216236" y="72388"/>
                    <a:pt x="216236" y="81123"/>
                  </a:cubicBezTo>
                  <a:lnTo>
                    <a:pt x="216236" y="138972"/>
                  </a:lnTo>
                  <a:lnTo>
                    <a:pt x="224973" y="138972"/>
                  </a:lnTo>
                  <a:lnTo>
                    <a:pt x="224973" y="148196"/>
                  </a:lnTo>
                  <a:lnTo>
                    <a:pt x="176093" y="148196"/>
                  </a:lnTo>
                  <a:lnTo>
                    <a:pt x="176093" y="138972"/>
                  </a:lnTo>
                  <a:lnTo>
                    <a:pt x="185319" y="138972"/>
                  </a:lnTo>
                  <a:lnTo>
                    <a:pt x="185319" y="59560"/>
                  </a:lnTo>
                  <a:lnTo>
                    <a:pt x="176215" y="59560"/>
                  </a:lnTo>
                  <a:lnTo>
                    <a:pt x="176215" y="50519"/>
                  </a:lnTo>
                  <a:lnTo>
                    <a:pt x="214586" y="50519"/>
                  </a:lnTo>
                  <a:lnTo>
                    <a:pt x="214586" y="65607"/>
                  </a:lnTo>
                  <a:lnTo>
                    <a:pt x="215075" y="65607"/>
                  </a:lnTo>
                  <a:cubicBezTo>
                    <a:pt x="219479" y="55294"/>
                    <a:pt x="229583" y="48576"/>
                    <a:pt x="240798" y="48503"/>
                  </a:cubicBezTo>
                  <a:cubicBezTo>
                    <a:pt x="253369" y="47642"/>
                    <a:pt x="264534" y="56476"/>
                    <a:pt x="266583" y="68906"/>
                  </a:cubicBezTo>
                  <a:cubicBezTo>
                    <a:pt x="267567" y="74266"/>
                    <a:pt x="268057" y="79705"/>
                    <a:pt x="268049" y="85155"/>
                  </a:cubicBezTo>
                  <a:lnTo>
                    <a:pt x="268049" y="139583"/>
                  </a:lnTo>
                  <a:lnTo>
                    <a:pt x="279720" y="139583"/>
                  </a:lnTo>
                  <a:lnTo>
                    <a:pt x="279720" y="148685"/>
                  </a:lnTo>
                  <a:lnTo>
                    <a:pt x="236949" y="148685"/>
                  </a:lnTo>
                  <a:close/>
                  <a:moveTo>
                    <a:pt x="68983" y="100060"/>
                  </a:moveTo>
                  <a:cubicBezTo>
                    <a:pt x="68983" y="129748"/>
                    <a:pt x="86947" y="154000"/>
                    <a:pt x="118536" y="154000"/>
                  </a:cubicBezTo>
                  <a:cubicBezTo>
                    <a:pt x="150125" y="154000"/>
                    <a:pt x="168088" y="129565"/>
                    <a:pt x="168088" y="100060"/>
                  </a:cubicBezTo>
                  <a:cubicBezTo>
                    <a:pt x="168088" y="70555"/>
                    <a:pt x="150125" y="45693"/>
                    <a:pt x="118536" y="45693"/>
                  </a:cubicBezTo>
                  <a:cubicBezTo>
                    <a:pt x="86947" y="45693"/>
                    <a:pt x="68983" y="70128"/>
                    <a:pt x="68983" y="100060"/>
                  </a:cubicBezTo>
                  <a:moveTo>
                    <a:pt x="105643" y="99571"/>
                  </a:moveTo>
                  <a:cubicBezTo>
                    <a:pt x="105643" y="69456"/>
                    <a:pt x="108576" y="56383"/>
                    <a:pt x="118780" y="56383"/>
                  </a:cubicBezTo>
                  <a:cubicBezTo>
                    <a:pt x="128984" y="56383"/>
                    <a:pt x="131917" y="69456"/>
                    <a:pt x="131917" y="99571"/>
                  </a:cubicBezTo>
                  <a:cubicBezTo>
                    <a:pt x="131917" y="129687"/>
                    <a:pt x="128984" y="142821"/>
                    <a:pt x="118780" y="142821"/>
                  </a:cubicBezTo>
                  <a:cubicBezTo>
                    <a:pt x="108576" y="142821"/>
                    <a:pt x="105216" y="129748"/>
                    <a:pt x="105216" y="99571"/>
                  </a:cubicBezTo>
                  <a:moveTo>
                    <a:pt x="538421" y="94745"/>
                  </a:moveTo>
                  <a:cubicBezTo>
                    <a:pt x="538421" y="68967"/>
                    <a:pt x="540376" y="59254"/>
                    <a:pt x="549113" y="59254"/>
                  </a:cubicBezTo>
                  <a:cubicBezTo>
                    <a:pt x="557851" y="59254"/>
                    <a:pt x="559806" y="68478"/>
                    <a:pt x="560295" y="94745"/>
                  </a:cubicBezTo>
                  <a:close/>
                  <a:moveTo>
                    <a:pt x="583574" y="122906"/>
                  </a:moveTo>
                  <a:cubicBezTo>
                    <a:pt x="578338" y="129233"/>
                    <a:pt x="570383" y="132663"/>
                    <a:pt x="562189" y="132131"/>
                  </a:cubicBezTo>
                  <a:cubicBezTo>
                    <a:pt x="553452" y="132131"/>
                    <a:pt x="539398" y="127305"/>
                    <a:pt x="538910" y="104458"/>
                  </a:cubicBezTo>
                  <a:lnTo>
                    <a:pt x="591395" y="104458"/>
                  </a:lnTo>
                  <a:cubicBezTo>
                    <a:pt x="591395" y="102503"/>
                    <a:pt x="591884" y="99083"/>
                    <a:pt x="591884" y="97189"/>
                  </a:cubicBezTo>
                  <a:cubicBezTo>
                    <a:pt x="591884" y="69456"/>
                    <a:pt x="580703" y="49053"/>
                    <a:pt x="551069" y="49053"/>
                  </a:cubicBezTo>
                  <a:cubicBezTo>
                    <a:pt x="521435" y="49053"/>
                    <a:pt x="506343" y="71899"/>
                    <a:pt x="506343" y="100060"/>
                  </a:cubicBezTo>
                  <a:cubicBezTo>
                    <a:pt x="506343" y="128221"/>
                    <a:pt x="521374" y="150640"/>
                    <a:pt x="551069" y="150640"/>
                  </a:cubicBezTo>
                  <a:cubicBezTo>
                    <a:pt x="567199" y="151394"/>
                    <a:pt x="582230" y="142452"/>
                    <a:pt x="589257" y="127916"/>
                  </a:cubicBezTo>
                  <a:close/>
                  <a:moveTo>
                    <a:pt x="131428" y="0"/>
                  </a:moveTo>
                  <a:cubicBezTo>
                    <a:pt x="131428" y="0"/>
                    <a:pt x="155318" y="24068"/>
                    <a:pt x="165706" y="36285"/>
                  </a:cubicBezTo>
                  <a:lnTo>
                    <a:pt x="165706" y="45510"/>
                  </a:lnTo>
                  <a:cubicBezTo>
                    <a:pt x="151880" y="32581"/>
                    <a:pt x="133617" y="25452"/>
                    <a:pt x="114686" y="25595"/>
                  </a:cubicBezTo>
                  <a:cubicBezTo>
                    <a:pt x="70510" y="25595"/>
                    <a:pt x="42771" y="59071"/>
                    <a:pt x="42771" y="100365"/>
                  </a:cubicBezTo>
                  <a:cubicBezTo>
                    <a:pt x="42771" y="141660"/>
                    <a:pt x="69044" y="174708"/>
                    <a:pt x="114686" y="174708"/>
                  </a:cubicBezTo>
                  <a:cubicBezTo>
                    <a:pt x="134075" y="174734"/>
                    <a:pt x="152585" y="166623"/>
                    <a:pt x="165706" y="152350"/>
                  </a:cubicBezTo>
                  <a:lnTo>
                    <a:pt x="165706" y="161147"/>
                  </a:lnTo>
                  <a:cubicBezTo>
                    <a:pt x="152141" y="180084"/>
                    <a:pt x="126845" y="192240"/>
                    <a:pt x="95256" y="192240"/>
                  </a:cubicBezTo>
                  <a:cubicBezTo>
                    <a:pt x="38921" y="192667"/>
                    <a:pt x="0" y="151862"/>
                    <a:pt x="0" y="99877"/>
                  </a:cubicBezTo>
                  <a:cubicBezTo>
                    <a:pt x="469" y="47991"/>
                    <a:pt x="42921" y="6310"/>
                    <a:pt x="94819" y="6779"/>
                  </a:cubicBezTo>
                  <a:cubicBezTo>
                    <a:pt x="94883" y="6779"/>
                    <a:pt x="94948" y="6780"/>
                    <a:pt x="95012" y="6781"/>
                  </a:cubicBezTo>
                  <a:lnTo>
                    <a:pt x="95501" y="6781"/>
                  </a:lnTo>
                  <a:cubicBezTo>
                    <a:pt x="107589" y="6859"/>
                    <a:pt x="119582" y="8923"/>
                    <a:pt x="131000" y="12889"/>
                  </a:cubicBezTo>
                  <a:lnTo>
                    <a:pt x="131000" y="0"/>
                  </a:lnTo>
                  <a:close/>
                  <a:moveTo>
                    <a:pt x="744208" y="59254"/>
                  </a:moveTo>
                  <a:lnTo>
                    <a:pt x="744208" y="131642"/>
                  </a:lnTo>
                  <a:cubicBezTo>
                    <a:pt x="743933" y="134733"/>
                    <a:pt x="746219" y="137462"/>
                    <a:pt x="749310" y="137736"/>
                  </a:cubicBezTo>
                  <a:cubicBezTo>
                    <a:pt x="749384" y="137742"/>
                    <a:pt x="749451" y="137747"/>
                    <a:pt x="749524" y="137751"/>
                  </a:cubicBezTo>
                  <a:lnTo>
                    <a:pt x="750502" y="137751"/>
                  </a:lnTo>
                  <a:cubicBezTo>
                    <a:pt x="752573" y="137685"/>
                    <a:pt x="754626" y="137357"/>
                    <a:pt x="756612" y="136773"/>
                  </a:cubicBezTo>
                  <a:lnTo>
                    <a:pt x="756612" y="145509"/>
                  </a:lnTo>
                  <a:cubicBezTo>
                    <a:pt x="750765" y="148483"/>
                    <a:pt x="744221" y="149833"/>
                    <a:pt x="737671" y="149418"/>
                  </a:cubicBezTo>
                  <a:cubicBezTo>
                    <a:pt x="722579" y="149418"/>
                    <a:pt x="713230" y="142088"/>
                    <a:pt x="713230" y="126083"/>
                  </a:cubicBezTo>
                  <a:lnTo>
                    <a:pt x="713230" y="59743"/>
                  </a:lnTo>
                  <a:lnTo>
                    <a:pt x="703027" y="59743"/>
                  </a:lnTo>
                  <a:lnTo>
                    <a:pt x="703027" y="53634"/>
                  </a:lnTo>
                  <a:cubicBezTo>
                    <a:pt x="714697" y="44410"/>
                    <a:pt x="728322" y="33720"/>
                    <a:pt x="739015" y="24984"/>
                  </a:cubicBezTo>
                  <a:lnTo>
                    <a:pt x="745125" y="24984"/>
                  </a:lnTo>
                  <a:lnTo>
                    <a:pt x="745125" y="50702"/>
                  </a:lnTo>
                  <a:lnTo>
                    <a:pt x="760156" y="50702"/>
                  </a:lnTo>
                  <a:lnTo>
                    <a:pt x="760156" y="59437"/>
                  </a:lnTo>
                  <a:close/>
                  <a:moveTo>
                    <a:pt x="460884" y="81123"/>
                  </a:moveTo>
                  <a:cubicBezTo>
                    <a:pt x="460884" y="72388"/>
                    <a:pt x="457951" y="65607"/>
                    <a:pt x="450680" y="65607"/>
                  </a:cubicBezTo>
                  <a:cubicBezTo>
                    <a:pt x="443409" y="65607"/>
                    <a:pt x="439987" y="72388"/>
                    <a:pt x="439987" y="81123"/>
                  </a:cubicBezTo>
                  <a:lnTo>
                    <a:pt x="439987" y="138972"/>
                  </a:lnTo>
                  <a:lnTo>
                    <a:pt x="448725" y="138972"/>
                  </a:lnTo>
                  <a:lnTo>
                    <a:pt x="448725" y="148196"/>
                  </a:lnTo>
                  <a:lnTo>
                    <a:pt x="399233" y="148196"/>
                  </a:lnTo>
                  <a:lnTo>
                    <a:pt x="399233" y="138972"/>
                  </a:lnTo>
                  <a:lnTo>
                    <a:pt x="408459" y="138972"/>
                  </a:lnTo>
                  <a:lnTo>
                    <a:pt x="408459" y="59560"/>
                  </a:lnTo>
                  <a:lnTo>
                    <a:pt x="399233" y="59560"/>
                  </a:lnTo>
                  <a:lnTo>
                    <a:pt x="399233" y="50519"/>
                  </a:lnTo>
                  <a:lnTo>
                    <a:pt x="437604" y="50519"/>
                  </a:lnTo>
                  <a:lnTo>
                    <a:pt x="437604" y="65607"/>
                  </a:lnTo>
                  <a:lnTo>
                    <a:pt x="438093" y="65607"/>
                  </a:lnTo>
                  <a:cubicBezTo>
                    <a:pt x="442529" y="55295"/>
                    <a:pt x="452647" y="48583"/>
                    <a:pt x="463878" y="48503"/>
                  </a:cubicBezTo>
                  <a:cubicBezTo>
                    <a:pt x="476422" y="47712"/>
                    <a:pt x="487524" y="56563"/>
                    <a:pt x="489540" y="68967"/>
                  </a:cubicBezTo>
                  <a:cubicBezTo>
                    <a:pt x="490512" y="74267"/>
                    <a:pt x="491006" y="79644"/>
                    <a:pt x="491006" y="85033"/>
                  </a:cubicBezTo>
                  <a:lnTo>
                    <a:pt x="491006" y="139461"/>
                  </a:lnTo>
                  <a:lnTo>
                    <a:pt x="502677" y="139461"/>
                  </a:lnTo>
                  <a:lnTo>
                    <a:pt x="502677" y="148685"/>
                  </a:lnTo>
                  <a:lnTo>
                    <a:pt x="459906" y="148685"/>
                  </a:lnTo>
                  <a:cubicBezTo>
                    <a:pt x="460395" y="148685"/>
                    <a:pt x="460884" y="81123"/>
                    <a:pt x="460884" y="81123"/>
                  </a:cubicBezTo>
                  <a:moveTo>
                    <a:pt x="659156" y="81612"/>
                  </a:moveTo>
                  <a:cubicBezTo>
                    <a:pt x="659156" y="72876"/>
                    <a:pt x="656223" y="66096"/>
                    <a:pt x="648952" y="66096"/>
                  </a:cubicBezTo>
                  <a:cubicBezTo>
                    <a:pt x="641681" y="66096"/>
                    <a:pt x="638260" y="72876"/>
                    <a:pt x="638260" y="81612"/>
                  </a:cubicBezTo>
                  <a:lnTo>
                    <a:pt x="638260" y="139461"/>
                  </a:lnTo>
                  <a:lnTo>
                    <a:pt x="646997" y="139461"/>
                  </a:lnTo>
                  <a:lnTo>
                    <a:pt x="646997" y="148685"/>
                  </a:lnTo>
                  <a:lnTo>
                    <a:pt x="598116" y="148685"/>
                  </a:lnTo>
                  <a:lnTo>
                    <a:pt x="598116" y="139461"/>
                  </a:lnTo>
                  <a:lnTo>
                    <a:pt x="607343" y="139461"/>
                  </a:lnTo>
                  <a:lnTo>
                    <a:pt x="607343" y="60048"/>
                  </a:lnTo>
                  <a:lnTo>
                    <a:pt x="598116" y="60048"/>
                  </a:lnTo>
                  <a:lnTo>
                    <a:pt x="598116" y="50519"/>
                  </a:lnTo>
                  <a:lnTo>
                    <a:pt x="636182" y="50519"/>
                  </a:lnTo>
                  <a:lnTo>
                    <a:pt x="636182" y="65607"/>
                  </a:lnTo>
                  <a:lnTo>
                    <a:pt x="636671" y="65607"/>
                  </a:lnTo>
                  <a:cubicBezTo>
                    <a:pt x="641137" y="55234"/>
                    <a:pt x="651341" y="48510"/>
                    <a:pt x="662639" y="48503"/>
                  </a:cubicBezTo>
                  <a:cubicBezTo>
                    <a:pt x="675189" y="47675"/>
                    <a:pt x="686315" y="56502"/>
                    <a:pt x="688362" y="68906"/>
                  </a:cubicBezTo>
                  <a:cubicBezTo>
                    <a:pt x="689334" y="74206"/>
                    <a:pt x="689829" y="79583"/>
                    <a:pt x="689829" y="84972"/>
                  </a:cubicBezTo>
                  <a:lnTo>
                    <a:pt x="689829" y="139400"/>
                  </a:lnTo>
                  <a:lnTo>
                    <a:pt x="701499" y="139400"/>
                  </a:lnTo>
                  <a:lnTo>
                    <a:pt x="701499" y="148685"/>
                  </a:lnTo>
                  <a:lnTo>
                    <a:pt x="658728" y="148685"/>
                  </a:lnTo>
                  <a:close/>
                </a:path>
              </a:pathLst>
            </a:custGeom>
            <a:grpFill/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527" name="Gruppieren 526">
            <a:extLst>
              <a:ext uri="{FF2B5EF4-FFF2-40B4-BE49-F238E27FC236}">
                <a16:creationId xmlns:a16="http://schemas.microsoft.com/office/drawing/2014/main" id="{26662C66-0E32-4D46-BF62-453C1F60AD54}"/>
              </a:ext>
            </a:extLst>
          </p:cNvPr>
          <p:cNvGrpSpPr/>
          <p:nvPr/>
        </p:nvGrpSpPr>
        <p:grpSpPr>
          <a:xfrm>
            <a:off x="1619671" y="1251808"/>
            <a:ext cx="1247257" cy="517071"/>
            <a:chOff x="321653" y="2767794"/>
            <a:chExt cx="3588930" cy="1487853"/>
          </a:xfrm>
          <a:solidFill>
            <a:schemeClr val="accent1"/>
          </a:solidFill>
        </p:grpSpPr>
        <p:sp>
          <p:nvSpPr>
            <p:cNvPr id="528" name="Freihandform 527">
              <a:extLst>
                <a:ext uri="{FF2B5EF4-FFF2-40B4-BE49-F238E27FC236}">
                  <a16:creationId xmlns:a16="http://schemas.microsoft.com/office/drawing/2014/main" id="{2F8B806F-93FA-9C44-B59F-83881453B259}"/>
                </a:ext>
              </a:extLst>
            </p:cNvPr>
            <p:cNvSpPr/>
            <p:nvPr/>
          </p:nvSpPr>
          <p:spPr>
            <a:xfrm>
              <a:off x="3079813" y="3133410"/>
              <a:ext cx="15976" cy="15971"/>
            </a:xfrm>
            <a:custGeom>
              <a:avLst/>
              <a:gdLst>
                <a:gd name="connsiteX0" fmla="*/ 0 w 6110"/>
                <a:gd name="connsiteY0" fmla="*/ 0 h 6108"/>
                <a:gd name="connsiteX1" fmla="*/ 0 w 6110"/>
                <a:gd name="connsiteY1" fmla="*/ 0 h 6108"/>
                <a:gd name="connsiteX2" fmla="*/ 0 w 6110"/>
                <a:gd name="connsiteY2" fmla="*/ 0 h 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10" h="610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grpFill/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9" name="Freihandform 528">
              <a:extLst>
                <a:ext uri="{FF2B5EF4-FFF2-40B4-BE49-F238E27FC236}">
                  <a16:creationId xmlns:a16="http://schemas.microsoft.com/office/drawing/2014/main" id="{7ACCC794-6EDB-834A-B477-4A02C4A8254E}"/>
                </a:ext>
              </a:extLst>
            </p:cNvPr>
            <p:cNvSpPr/>
            <p:nvPr/>
          </p:nvSpPr>
          <p:spPr>
            <a:xfrm>
              <a:off x="1374975" y="3914968"/>
              <a:ext cx="424" cy="1579"/>
            </a:xfrm>
            <a:custGeom>
              <a:avLst/>
              <a:gdLst>
                <a:gd name="connsiteX0" fmla="*/ 0 w 162"/>
                <a:gd name="connsiteY0" fmla="*/ 605 h 604"/>
                <a:gd name="connsiteX1" fmla="*/ 0 w 162"/>
                <a:gd name="connsiteY1" fmla="*/ 177 h 604"/>
                <a:gd name="connsiteX2" fmla="*/ 0 w 162"/>
                <a:gd name="connsiteY2" fmla="*/ 605 h 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2" h="604">
                  <a:moveTo>
                    <a:pt x="0" y="605"/>
                  </a:moveTo>
                  <a:cubicBezTo>
                    <a:pt x="0" y="605"/>
                    <a:pt x="0" y="605"/>
                    <a:pt x="0" y="177"/>
                  </a:cubicBezTo>
                  <a:cubicBezTo>
                    <a:pt x="0" y="-250"/>
                    <a:pt x="367" y="177"/>
                    <a:pt x="0" y="605"/>
                  </a:cubicBezTo>
                </a:path>
              </a:pathLst>
            </a:custGeom>
            <a:grpFill/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0" name="Freihandform 529">
              <a:extLst>
                <a:ext uri="{FF2B5EF4-FFF2-40B4-BE49-F238E27FC236}">
                  <a16:creationId xmlns:a16="http://schemas.microsoft.com/office/drawing/2014/main" id="{DDB47D14-EFDB-0D48-B409-8F008781B471}"/>
                </a:ext>
              </a:extLst>
            </p:cNvPr>
            <p:cNvSpPr/>
            <p:nvPr/>
          </p:nvSpPr>
          <p:spPr>
            <a:xfrm>
              <a:off x="321653" y="3952008"/>
              <a:ext cx="935096" cy="73794"/>
            </a:xfrm>
            <a:custGeom>
              <a:avLst/>
              <a:gdLst>
                <a:gd name="connsiteX0" fmla="*/ 0 w 357623"/>
                <a:gd name="connsiteY0" fmla="*/ 9835 h 28222"/>
                <a:gd name="connsiteX1" fmla="*/ 1222 w 357623"/>
                <a:gd name="connsiteY1" fmla="*/ 24923 h 28222"/>
                <a:gd name="connsiteX2" fmla="*/ 357623 w 357623"/>
                <a:gd name="connsiteY2" fmla="*/ 28222 h 28222"/>
                <a:gd name="connsiteX3" fmla="*/ 355057 w 357623"/>
                <a:gd name="connsiteY3" fmla="*/ 0 h 28222"/>
                <a:gd name="connsiteX4" fmla="*/ 0 w 357623"/>
                <a:gd name="connsiteY4" fmla="*/ 9835 h 28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7623" h="28222">
                  <a:moveTo>
                    <a:pt x="0" y="9835"/>
                  </a:moveTo>
                  <a:lnTo>
                    <a:pt x="1222" y="24923"/>
                  </a:lnTo>
                  <a:lnTo>
                    <a:pt x="357623" y="28222"/>
                  </a:lnTo>
                  <a:lnTo>
                    <a:pt x="355057" y="0"/>
                  </a:lnTo>
                  <a:lnTo>
                    <a:pt x="0" y="9835"/>
                  </a:lnTo>
                  <a:close/>
                </a:path>
              </a:pathLst>
            </a:custGeom>
            <a:grpFill/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31" name="Grafik 5">
              <a:extLst>
                <a:ext uri="{FF2B5EF4-FFF2-40B4-BE49-F238E27FC236}">
                  <a16:creationId xmlns:a16="http://schemas.microsoft.com/office/drawing/2014/main" id="{799A33B7-B2A4-1742-BEA9-44084A05E931}"/>
                </a:ext>
              </a:extLst>
            </p:cNvPr>
            <p:cNvGrpSpPr/>
            <p:nvPr/>
          </p:nvGrpSpPr>
          <p:grpSpPr>
            <a:xfrm>
              <a:off x="1529711" y="3196661"/>
              <a:ext cx="415952" cy="453950"/>
              <a:chOff x="-3319926" y="880568"/>
              <a:chExt cx="159079" cy="173611"/>
            </a:xfrm>
            <a:grpFill/>
          </p:grpSpPr>
          <p:sp>
            <p:nvSpPr>
              <p:cNvPr id="590" name="Freihandform 589">
                <a:extLst>
                  <a:ext uri="{FF2B5EF4-FFF2-40B4-BE49-F238E27FC236}">
                    <a16:creationId xmlns:a16="http://schemas.microsoft.com/office/drawing/2014/main" id="{5101E19D-4E5E-704F-A6C7-55AFE78D8E18}"/>
                  </a:ext>
                </a:extLst>
              </p:cNvPr>
              <p:cNvSpPr/>
              <p:nvPr/>
            </p:nvSpPr>
            <p:spPr>
              <a:xfrm>
                <a:off x="-3218946" y="947712"/>
                <a:ext cx="58099" cy="106468"/>
              </a:xfrm>
              <a:custGeom>
                <a:avLst/>
                <a:gdLst>
                  <a:gd name="connsiteX0" fmla="*/ 57421 w 58099"/>
                  <a:gd name="connsiteY0" fmla="*/ 86184 h 106468"/>
                  <a:gd name="connsiteX1" fmla="*/ 27726 w 58099"/>
                  <a:gd name="connsiteY1" fmla="*/ 663 h 106468"/>
                  <a:gd name="connsiteX2" fmla="*/ 14590 w 58099"/>
                  <a:gd name="connsiteY2" fmla="*/ 1823 h 106468"/>
                  <a:gd name="connsiteX3" fmla="*/ 1331 w 58099"/>
                  <a:gd name="connsiteY3" fmla="*/ 39208 h 106468"/>
                  <a:gd name="connsiteX4" fmla="*/ 4814 w 58099"/>
                  <a:gd name="connsiteY4" fmla="*/ 85512 h 106468"/>
                  <a:gd name="connsiteX5" fmla="*/ 23663 w 58099"/>
                  <a:gd name="connsiteY5" fmla="*/ 106440 h 106468"/>
                  <a:gd name="connsiteX6" fmla="*/ 27421 w 58099"/>
                  <a:gd name="connsiteY6" fmla="*/ 106281 h 106468"/>
                  <a:gd name="connsiteX7" fmla="*/ 40191 w 58099"/>
                  <a:gd name="connsiteY7" fmla="*/ 104510 h 106468"/>
                  <a:gd name="connsiteX8" fmla="*/ 57421 w 58099"/>
                  <a:gd name="connsiteY8" fmla="*/ 86184 h 1064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8099" h="106468">
                    <a:moveTo>
                      <a:pt x="57421" y="86184"/>
                    </a:moveTo>
                    <a:cubicBezTo>
                      <a:pt x="59193" y="59550"/>
                      <a:pt x="59865" y="9031"/>
                      <a:pt x="27726" y="663"/>
                    </a:cubicBezTo>
                    <a:cubicBezTo>
                      <a:pt x="23345" y="-523"/>
                      <a:pt x="18690" y="-107"/>
                      <a:pt x="14590" y="1823"/>
                    </a:cubicBezTo>
                    <a:cubicBezTo>
                      <a:pt x="6769" y="5427"/>
                      <a:pt x="-3741" y="14957"/>
                      <a:pt x="1331" y="39208"/>
                    </a:cubicBezTo>
                    <a:cubicBezTo>
                      <a:pt x="4496" y="54425"/>
                      <a:pt x="5663" y="69990"/>
                      <a:pt x="4814" y="85512"/>
                    </a:cubicBezTo>
                    <a:cubicBezTo>
                      <a:pt x="4239" y="96495"/>
                      <a:pt x="12677" y="105866"/>
                      <a:pt x="23663" y="106440"/>
                    </a:cubicBezTo>
                    <a:cubicBezTo>
                      <a:pt x="24916" y="106507"/>
                      <a:pt x="26174" y="106452"/>
                      <a:pt x="27421" y="106281"/>
                    </a:cubicBezTo>
                    <a:lnTo>
                      <a:pt x="40191" y="104510"/>
                    </a:lnTo>
                    <a:cubicBezTo>
                      <a:pt x="49545" y="103239"/>
                      <a:pt x="56731" y="95597"/>
                      <a:pt x="57421" y="86184"/>
                    </a:cubicBezTo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1" name="Freihandform 590">
                <a:extLst>
                  <a:ext uri="{FF2B5EF4-FFF2-40B4-BE49-F238E27FC236}">
                    <a16:creationId xmlns:a16="http://schemas.microsoft.com/office/drawing/2014/main" id="{3C0853C1-42F7-1140-AF1A-059FDCEC7E39}"/>
                  </a:ext>
                </a:extLst>
              </p:cNvPr>
              <p:cNvSpPr/>
              <p:nvPr/>
            </p:nvSpPr>
            <p:spPr>
              <a:xfrm>
                <a:off x="-3260935" y="880568"/>
                <a:ext cx="61834" cy="61819"/>
              </a:xfrm>
              <a:custGeom>
                <a:avLst/>
                <a:gdLst>
                  <a:gd name="connsiteX0" fmla="*/ 0 w 61834"/>
                  <a:gd name="connsiteY0" fmla="*/ 30971 h 61819"/>
                  <a:gd name="connsiteX1" fmla="*/ 30978 w 61834"/>
                  <a:gd name="connsiteY1" fmla="*/ 61820 h 61819"/>
                  <a:gd name="connsiteX2" fmla="*/ 61834 w 61834"/>
                  <a:gd name="connsiteY2" fmla="*/ 30849 h 61819"/>
                  <a:gd name="connsiteX3" fmla="*/ 30917 w 61834"/>
                  <a:gd name="connsiteY3" fmla="*/ 0 h 61819"/>
                  <a:gd name="connsiteX4" fmla="*/ 0 w 61834"/>
                  <a:gd name="connsiteY4" fmla="*/ 30971 h 61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834" h="61819">
                    <a:moveTo>
                      <a:pt x="0" y="30971"/>
                    </a:moveTo>
                    <a:cubicBezTo>
                      <a:pt x="37" y="48045"/>
                      <a:pt x="13900" y="61856"/>
                      <a:pt x="30978" y="61820"/>
                    </a:cubicBezTo>
                    <a:cubicBezTo>
                      <a:pt x="48056" y="61783"/>
                      <a:pt x="61871" y="47923"/>
                      <a:pt x="61834" y="30849"/>
                    </a:cubicBezTo>
                    <a:cubicBezTo>
                      <a:pt x="61797" y="13800"/>
                      <a:pt x="47970" y="0"/>
                      <a:pt x="30917" y="0"/>
                    </a:cubicBezTo>
                    <a:cubicBezTo>
                      <a:pt x="13833" y="37"/>
                      <a:pt x="0" y="13891"/>
                      <a:pt x="0" y="30971"/>
                    </a:cubicBezTo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2" name="Freihandform 591">
                <a:extLst>
                  <a:ext uri="{FF2B5EF4-FFF2-40B4-BE49-F238E27FC236}">
                    <a16:creationId xmlns:a16="http://schemas.microsoft.com/office/drawing/2014/main" id="{2F682769-6490-324F-8098-FD3A5AD2705D}"/>
                  </a:ext>
                </a:extLst>
              </p:cNvPr>
              <p:cNvSpPr/>
              <p:nvPr/>
            </p:nvSpPr>
            <p:spPr>
              <a:xfrm>
                <a:off x="-3283133" y="889853"/>
                <a:ext cx="46333" cy="23846"/>
              </a:xfrm>
              <a:custGeom>
                <a:avLst/>
                <a:gdLst>
                  <a:gd name="connsiteX0" fmla="*/ 45050 w 46333"/>
                  <a:gd name="connsiteY0" fmla="*/ 0 h 23846"/>
                  <a:gd name="connsiteX1" fmla="*/ 4235 w 46333"/>
                  <a:gd name="connsiteY1" fmla="*/ 6842 h 23846"/>
                  <a:gd name="connsiteX2" fmla="*/ 6740 w 46333"/>
                  <a:gd name="connsiteY2" fmla="*/ 22297 h 23846"/>
                  <a:gd name="connsiteX3" fmla="*/ 46333 w 46333"/>
                  <a:gd name="connsiteY3" fmla="*/ 23518 h 23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333" h="23846">
                    <a:moveTo>
                      <a:pt x="45050" y="0"/>
                    </a:moveTo>
                    <a:cubicBezTo>
                      <a:pt x="45050" y="0"/>
                      <a:pt x="11078" y="9285"/>
                      <a:pt x="4235" y="6842"/>
                    </a:cubicBezTo>
                    <a:cubicBezTo>
                      <a:pt x="-2609" y="4398"/>
                      <a:pt x="-715" y="19792"/>
                      <a:pt x="6740" y="22297"/>
                    </a:cubicBezTo>
                    <a:cubicBezTo>
                      <a:pt x="14194" y="24801"/>
                      <a:pt x="46333" y="23518"/>
                      <a:pt x="46333" y="23518"/>
                    </a:cubicBezTo>
                    <a:close/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3" name="Freihandform 592">
                <a:extLst>
                  <a:ext uri="{FF2B5EF4-FFF2-40B4-BE49-F238E27FC236}">
                    <a16:creationId xmlns:a16="http://schemas.microsoft.com/office/drawing/2014/main" id="{AD0A739C-2D03-C34A-9CB8-174839F35C20}"/>
                  </a:ext>
                </a:extLst>
              </p:cNvPr>
              <p:cNvSpPr/>
              <p:nvPr/>
            </p:nvSpPr>
            <p:spPr>
              <a:xfrm>
                <a:off x="-3297253" y="963056"/>
                <a:ext cx="102766" cy="52273"/>
              </a:xfrm>
              <a:custGeom>
                <a:avLst/>
                <a:gdLst>
                  <a:gd name="connsiteX0" fmla="*/ 82082 w 102766"/>
                  <a:gd name="connsiteY0" fmla="*/ 40 h 52273"/>
                  <a:gd name="connsiteX1" fmla="*/ 18354 w 102766"/>
                  <a:gd name="connsiteY1" fmla="*/ 28506 h 52273"/>
                  <a:gd name="connsiteX2" fmla="*/ 2224 w 102766"/>
                  <a:gd name="connsiteY2" fmla="*/ 42617 h 52273"/>
                  <a:gd name="connsiteX3" fmla="*/ 8334 w 102766"/>
                  <a:gd name="connsiteY3" fmla="*/ 47749 h 52273"/>
                  <a:gd name="connsiteX4" fmla="*/ 84221 w 102766"/>
                  <a:gd name="connsiteY4" fmla="*/ 32172 h 52273"/>
                  <a:gd name="connsiteX5" fmla="*/ 82388 w 102766"/>
                  <a:gd name="connsiteY5" fmla="*/ 40 h 52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2766" h="52273">
                    <a:moveTo>
                      <a:pt x="82082" y="40"/>
                    </a:moveTo>
                    <a:cubicBezTo>
                      <a:pt x="82082" y="2483"/>
                      <a:pt x="48660" y="32782"/>
                      <a:pt x="18354" y="28506"/>
                    </a:cubicBezTo>
                    <a:cubicBezTo>
                      <a:pt x="-4192" y="25269"/>
                      <a:pt x="-893" y="36570"/>
                      <a:pt x="2224" y="42617"/>
                    </a:cubicBezTo>
                    <a:cubicBezTo>
                      <a:pt x="3556" y="45024"/>
                      <a:pt x="5731" y="46851"/>
                      <a:pt x="8334" y="47749"/>
                    </a:cubicBezTo>
                    <a:cubicBezTo>
                      <a:pt x="18538" y="51903"/>
                      <a:pt x="49455" y="60455"/>
                      <a:pt x="84221" y="32172"/>
                    </a:cubicBezTo>
                    <a:cubicBezTo>
                      <a:pt x="126992" y="-2465"/>
                      <a:pt x="82388" y="40"/>
                      <a:pt x="82388" y="40"/>
                    </a:cubicBezTo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4" name="Freihandform 593">
                <a:extLst>
                  <a:ext uri="{FF2B5EF4-FFF2-40B4-BE49-F238E27FC236}">
                    <a16:creationId xmlns:a16="http://schemas.microsoft.com/office/drawing/2014/main" id="{17932D09-B7B0-A848-A41A-81F10F180C75}"/>
                  </a:ext>
                </a:extLst>
              </p:cNvPr>
              <p:cNvSpPr/>
              <p:nvPr/>
            </p:nvSpPr>
            <p:spPr>
              <a:xfrm>
                <a:off x="-3319926" y="995465"/>
                <a:ext cx="41417" cy="37518"/>
              </a:xfrm>
              <a:custGeom>
                <a:avLst/>
                <a:gdLst>
                  <a:gd name="connsiteX0" fmla="*/ 17136 w 41417"/>
                  <a:gd name="connsiteY0" fmla="*/ 22793 h 37518"/>
                  <a:gd name="connsiteX1" fmla="*/ 41088 w 41417"/>
                  <a:gd name="connsiteY1" fmla="*/ 37087 h 37518"/>
                  <a:gd name="connsiteX2" fmla="*/ 24407 w 41417"/>
                  <a:gd name="connsiteY2" fmla="*/ 14729 h 37518"/>
                  <a:gd name="connsiteX3" fmla="*/ 456 w 41417"/>
                  <a:gd name="connsiteY3" fmla="*/ 435 h 37518"/>
                  <a:gd name="connsiteX4" fmla="*/ 10843 w 41417"/>
                  <a:gd name="connsiteY4" fmla="*/ 16684 h 37518"/>
                  <a:gd name="connsiteX5" fmla="*/ 16953 w 41417"/>
                  <a:gd name="connsiteY5" fmla="*/ 22793 h 37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417" h="37518">
                    <a:moveTo>
                      <a:pt x="17136" y="22793"/>
                    </a:moveTo>
                    <a:cubicBezTo>
                      <a:pt x="28379" y="32872"/>
                      <a:pt x="39072" y="39286"/>
                      <a:pt x="41088" y="37087"/>
                    </a:cubicBezTo>
                    <a:cubicBezTo>
                      <a:pt x="43104" y="34888"/>
                      <a:pt x="35650" y="24870"/>
                      <a:pt x="24407" y="14729"/>
                    </a:cubicBezTo>
                    <a:cubicBezTo>
                      <a:pt x="13165" y="4589"/>
                      <a:pt x="2472" y="-1764"/>
                      <a:pt x="456" y="435"/>
                    </a:cubicBezTo>
                    <a:cubicBezTo>
                      <a:pt x="-1560" y="2634"/>
                      <a:pt x="3328" y="8926"/>
                      <a:pt x="10843" y="16684"/>
                    </a:cubicBezTo>
                    <a:cubicBezTo>
                      <a:pt x="12798" y="18700"/>
                      <a:pt x="14876" y="20716"/>
                      <a:pt x="16953" y="22793"/>
                    </a:cubicBezTo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532" name="Freihandform 531">
              <a:extLst>
                <a:ext uri="{FF2B5EF4-FFF2-40B4-BE49-F238E27FC236}">
                  <a16:creationId xmlns:a16="http://schemas.microsoft.com/office/drawing/2014/main" id="{F07992BD-49B8-7846-A7E3-884E46F175BB}"/>
                </a:ext>
              </a:extLst>
            </p:cNvPr>
            <p:cNvSpPr/>
            <p:nvPr/>
          </p:nvSpPr>
          <p:spPr>
            <a:xfrm>
              <a:off x="1491442" y="3540872"/>
              <a:ext cx="103526" cy="97431"/>
            </a:xfrm>
            <a:custGeom>
              <a:avLst/>
              <a:gdLst>
                <a:gd name="connsiteX0" fmla="*/ 39593 w 39593"/>
                <a:gd name="connsiteY0" fmla="*/ 9407 h 37262"/>
                <a:gd name="connsiteX1" fmla="*/ 11120 w 39593"/>
                <a:gd name="connsiteY1" fmla="*/ 37263 h 37262"/>
                <a:gd name="connsiteX2" fmla="*/ 0 w 39593"/>
                <a:gd name="connsiteY2" fmla="*/ 21197 h 37262"/>
                <a:gd name="connsiteX3" fmla="*/ 25479 w 39593"/>
                <a:gd name="connsiteY3" fmla="*/ 0 h 37262"/>
                <a:gd name="connsiteX4" fmla="*/ 39593 w 39593"/>
                <a:gd name="connsiteY4" fmla="*/ 9407 h 37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93" h="37262">
                  <a:moveTo>
                    <a:pt x="39593" y="9407"/>
                  </a:moveTo>
                  <a:lnTo>
                    <a:pt x="11120" y="37263"/>
                  </a:lnTo>
                  <a:lnTo>
                    <a:pt x="0" y="21197"/>
                  </a:lnTo>
                  <a:lnTo>
                    <a:pt x="25479" y="0"/>
                  </a:lnTo>
                  <a:lnTo>
                    <a:pt x="39593" y="9407"/>
                  </a:lnTo>
                  <a:close/>
                </a:path>
              </a:pathLst>
            </a:custGeom>
            <a:grpFill/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33" name="Grafik 5">
              <a:extLst>
                <a:ext uri="{FF2B5EF4-FFF2-40B4-BE49-F238E27FC236}">
                  <a16:creationId xmlns:a16="http://schemas.microsoft.com/office/drawing/2014/main" id="{1D6FF642-15AA-794A-ABD8-359513C40B5A}"/>
                </a:ext>
              </a:extLst>
            </p:cNvPr>
            <p:cNvGrpSpPr/>
            <p:nvPr/>
          </p:nvGrpSpPr>
          <p:grpSpPr>
            <a:xfrm>
              <a:off x="1239016" y="3107375"/>
              <a:ext cx="1257498" cy="1148115"/>
              <a:chOff x="-3431101" y="846421"/>
              <a:chExt cx="480924" cy="439091"/>
            </a:xfrm>
            <a:grpFill/>
          </p:grpSpPr>
          <p:sp>
            <p:nvSpPr>
              <p:cNvPr id="586" name="Freihandform 585">
                <a:extLst>
                  <a:ext uri="{FF2B5EF4-FFF2-40B4-BE49-F238E27FC236}">
                    <a16:creationId xmlns:a16="http://schemas.microsoft.com/office/drawing/2014/main" id="{7B894EEC-09C3-C74F-B4D7-36331BBF3981}"/>
                  </a:ext>
                </a:extLst>
              </p:cNvPr>
              <p:cNvSpPr/>
              <p:nvPr/>
            </p:nvSpPr>
            <p:spPr>
              <a:xfrm>
                <a:off x="-3431101" y="846421"/>
                <a:ext cx="374792" cy="363771"/>
              </a:xfrm>
              <a:custGeom>
                <a:avLst/>
                <a:gdLst>
                  <a:gd name="connsiteX0" fmla="*/ 113831 w 374792"/>
                  <a:gd name="connsiteY0" fmla="*/ 181366 h 363771"/>
                  <a:gd name="connsiteX1" fmla="*/ 113831 w 374792"/>
                  <a:gd name="connsiteY1" fmla="*/ 242025 h 363771"/>
                  <a:gd name="connsiteX2" fmla="*/ 146642 w 374792"/>
                  <a:gd name="connsiteY2" fmla="*/ 193767 h 363771"/>
                  <a:gd name="connsiteX3" fmla="*/ 283386 w 374792"/>
                  <a:gd name="connsiteY3" fmla="*/ 193767 h 363771"/>
                  <a:gd name="connsiteX4" fmla="*/ 281553 w 374792"/>
                  <a:gd name="connsiteY4" fmla="*/ 21808 h 363771"/>
                  <a:gd name="connsiteX5" fmla="*/ 150369 w 374792"/>
                  <a:gd name="connsiteY5" fmla="*/ 21808 h 363771"/>
                  <a:gd name="connsiteX6" fmla="*/ 89696 w 374792"/>
                  <a:gd name="connsiteY6" fmla="*/ 181366 h 363771"/>
                  <a:gd name="connsiteX7" fmla="*/ 13015 w 374792"/>
                  <a:gd name="connsiteY7" fmla="*/ 250700 h 363771"/>
                  <a:gd name="connsiteX8" fmla="*/ 13015 w 374792"/>
                  <a:gd name="connsiteY8" fmla="*/ 4459 h 363771"/>
                  <a:gd name="connsiteX9" fmla="*/ 28473 w 374792"/>
                  <a:gd name="connsiteY9" fmla="*/ 4459 h 363771"/>
                  <a:gd name="connsiteX10" fmla="*/ 28473 w 374792"/>
                  <a:gd name="connsiteY10" fmla="*/ 254915 h 363771"/>
                  <a:gd name="connsiteX11" fmla="*/ 35866 w 374792"/>
                  <a:gd name="connsiteY11" fmla="*/ 254915 h 363771"/>
                  <a:gd name="connsiteX12" fmla="*/ 35866 w 374792"/>
                  <a:gd name="connsiteY12" fmla="*/ 309343 h 363771"/>
                  <a:gd name="connsiteX13" fmla="*/ 51814 w 374792"/>
                  <a:gd name="connsiteY13" fmla="*/ 308915 h 363771"/>
                  <a:gd name="connsiteX14" fmla="*/ 51814 w 374792"/>
                  <a:gd name="connsiteY14" fmla="*/ 309343 h 363771"/>
                  <a:gd name="connsiteX15" fmla="*/ 51814 w 374792"/>
                  <a:gd name="connsiteY15" fmla="*/ 308915 h 363771"/>
                  <a:gd name="connsiteX16" fmla="*/ 51814 w 374792"/>
                  <a:gd name="connsiteY16" fmla="*/ 215270 h 363771"/>
                  <a:gd name="connsiteX17" fmla="*/ 134055 w 374792"/>
                  <a:gd name="connsiteY17" fmla="*/ 0 h 363771"/>
                  <a:gd name="connsiteX18" fmla="*/ 299883 w 374792"/>
                  <a:gd name="connsiteY18" fmla="*/ 0 h 363771"/>
                  <a:gd name="connsiteX19" fmla="*/ 299883 w 374792"/>
                  <a:gd name="connsiteY19" fmla="*/ 223944 h 363771"/>
                  <a:gd name="connsiteX20" fmla="*/ 354324 w 374792"/>
                  <a:gd name="connsiteY20" fmla="*/ 223944 h 363771"/>
                  <a:gd name="connsiteX21" fmla="*/ 354324 w 374792"/>
                  <a:gd name="connsiteY21" fmla="*/ 267254 h 363771"/>
                  <a:gd name="connsiteX22" fmla="*/ 374793 w 374792"/>
                  <a:gd name="connsiteY22" fmla="*/ 267254 h 363771"/>
                  <a:gd name="connsiteX23" fmla="*/ 374793 w 374792"/>
                  <a:gd name="connsiteY23" fmla="*/ 363771 h 363771"/>
                  <a:gd name="connsiteX24" fmla="*/ 350352 w 374792"/>
                  <a:gd name="connsiteY24" fmla="*/ 363771 h 363771"/>
                  <a:gd name="connsiteX25" fmla="*/ 274239 w 374792"/>
                  <a:gd name="connsiteY25" fmla="*/ 347809 h 363771"/>
                  <a:gd name="connsiteX26" fmla="*/ 258273 w 374792"/>
                  <a:gd name="connsiteY26" fmla="*/ 363771 h 363771"/>
                  <a:gd name="connsiteX27" fmla="*/ 136988 w 374792"/>
                  <a:gd name="connsiteY27" fmla="*/ 363771 h 363771"/>
                  <a:gd name="connsiteX28" fmla="*/ 60876 w 374792"/>
                  <a:gd name="connsiteY28" fmla="*/ 347809 h 363771"/>
                  <a:gd name="connsiteX29" fmla="*/ 44909 w 374792"/>
                  <a:gd name="connsiteY29" fmla="*/ 363771 h 363771"/>
                  <a:gd name="connsiteX30" fmla="*/ 14848 w 374792"/>
                  <a:gd name="connsiteY30" fmla="*/ 363771 h 363771"/>
                  <a:gd name="connsiteX31" fmla="*/ 0 w 374792"/>
                  <a:gd name="connsiteY31" fmla="*/ 349538 h 363771"/>
                  <a:gd name="connsiteX32" fmla="*/ 0 w 374792"/>
                  <a:gd name="connsiteY32" fmla="*/ 253021 h 363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74792" h="363771">
                    <a:moveTo>
                      <a:pt x="113831" y="181366"/>
                    </a:moveTo>
                    <a:lnTo>
                      <a:pt x="113831" y="242025"/>
                    </a:lnTo>
                    <a:lnTo>
                      <a:pt x="146642" y="193767"/>
                    </a:lnTo>
                    <a:lnTo>
                      <a:pt x="283386" y="193767"/>
                    </a:lnTo>
                    <a:lnTo>
                      <a:pt x="281553" y="21808"/>
                    </a:lnTo>
                    <a:lnTo>
                      <a:pt x="150369" y="21808"/>
                    </a:lnTo>
                    <a:lnTo>
                      <a:pt x="89696" y="181366"/>
                    </a:lnTo>
                    <a:close/>
                    <a:moveTo>
                      <a:pt x="13015" y="250700"/>
                    </a:moveTo>
                    <a:lnTo>
                      <a:pt x="13015" y="4459"/>
                    </a:lnTo>
                    <a:lnTo>
                      <a:pt x="28473" y="4459"/>
                    </a:lnTo>
                    <a:lnTo>
                      <a:pt x="28473" y="254915"/>
                    </a:lnTo>
                    <a:lnTo>
                      <a:pt x="35866" y="254915"/>
                    </a:lnTo>
                    <a:lnTo>
                      <a:pt x="35866" y="309343"/>
                    </a:lnTo>
                    <a:cubicBezTo>
                      <a:pt x="41162" y="308775"/>
                      <a:pt x="46495" y="308628"/>
                      <a:pt x="51814" y="308915"/>
                    </a:cubicBezTo>
                    <a:cubicBezTo>
                      <a:pt x="51814" y="309221"/>
                      <a:pt x="51814" y="309404"/>
                      <a:pt x="51814" y="309343"/>
                    </a:cubicBezTo>
                    <a:cubicBezTo>
                      <a:pt x="51814" y="309282"/>
                      <a:pt x="51814" y="309343"/>
                      <a:pt x="51814" y="308915"/>
                    </a:cubicBezTo>
                    <a:cubicBezTo>
                      <a:pt x="50592" y="302807"/>
                      <a:pt x="51814" y="215270"/>
                      <a:pt x="51814" y="215270"/>
                    </a:cubicBezTo>
                    <a:lnTo>
                      <a:pt x="134055" y="0"/>
                    </a:lnTo>
                    <a:lnTo>
                      <a:pt x="299883" y="0"/>
                    </a:lnTo>
                    <a:lnTo>
                      <a:pt x="299883" y="223944"/>
                    </a:lnTo>
                    <a:lnTo>
                      <a:pt x="354324" y="223944"/>
                    </a:lnTo>
                    <a:lnTo>
                      <a:pt x="354324" y="267254"/>
                    </a:lnTo>
                    <a:lnTo>
                      <a:pt x="374793" y="267254"/>
                    </a:lnTo>
                    <a:lnTo>
                      <a:pt x="374793" y="363771"/>
                    </a:lnTo>
                    <a:lnTo>
                      <a:pt x="350352" y="363771"/>
                    </a:lnTo>
                    <a:cubicBezTo>
                      <a:pt x="333745" y="338353"/>
                      <a:pt x="299669" y="331206"/>
                      <a:pt x="274239" y="347809"/>
                    </a:cubicBezTo>
                    <a:cubicBezTo>
                      <a:pt x="267872" y="351969"/>
                      <a:pt x="262434" y="357406"/>
                      <a:pt x="258273" y="363771"/>
                    </a:cubicBezTo>
                    <a:lnTo>
                      <a:pt x="136988" y="363771"/>
                    </a:lnTo>
                    <a:cubicBezTo>
                      <a:pt x="120381" y="338353"/>
                      <a:pt x="86305" y="331206"/>
                      <a:pt x="60876" y="347809"/>
                    </a:cubicBezTo>
                    <a:cubicBezTo>
                      <a:pt x="54507" y="351969"/>
                      <a:pt x="49069" y="357406"/>
                      <a:pt x="44909" y="363771"/>
                    </a:cubicBezTo>
                    <a:lnTo>
                      <a:pt x="14848" y="363771"/>
                    </a:lnTo>
                    <a:lnTo>
                      <a:pt x="0" y="349538"/>
                    </a:lnTo>
                    <a:lnTo>
                      <a:pt x="0" y="253021"/>
                    </a:lnTo>
                    <a:close/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7" name="Freihandform 586">
                <a:extLst>
                  <a:ext uri="{FF2B5EF4-FFF2-40B4-BE49-F238E27FC236}">
                    <a16:creationId xmlns:a16="http://schemas.microsoft.com/office/drawing/2014/main" id="{C978CA07-80EE-4342-B840-CFA54436C9D0}"/>
                  </a:ext>
                </a:extLst>
              </p:cNvPr>
              <p:cNvSpPr/>
              <p:nvPr/>
            </p:nvSpPr>
            <p:spPr>
              <a:xfrm>
                <a:off x="-3385642" y="1194493"/>
                <a:ext cx="91040" cy="91019"/>
              </a:xfrm>
              <a:custGeom>
                <a:avLst/>
                <a:gdLst>
                  <a:gd name="connsiteX0" fmla="*/ 45520 w 91040"/>
                  <a:gd name="connsiteY0" fmla="*/ 63469 h 91019"/>
                  <a:gd name="connsiteX1" fmla="*/ 63484 w 91040"/>
                  <a:gd name="connsiteY1" fmla="*/ 45510 h 91019"/>
                  <a:gd name="connsiteX2" fmla="*/ 45520 w 91040"/>
                  <a:gd name="connsiteY2" fmla="*/ 27550 h 91019"/>
                  <a:gd name="connsiteX3" fmla="*/ 27557 w 91040"/>
                  <a:gd name="connsiteY3" fmla="*/ 45510 h 91019"/>
                  <a:gd name="connsiteX4" fmla="*/ 45520 w 91040"/>
                  <a:gd name="connsiteY4" fmla="*/ 63469 h 91019"/>
                  <a:gd name="connsiteX5" fmla="*/ 45520 w 91040"/>
                  <a:gd name="connsiteY5" fmla="*/ 0 h 91019"/>
                  <a:gd name="connsiteX6" fmla="*/ 91040 w 91040"/>
                  <a:gd name="connsiteY6" fmla="*/ 45510 h 91019"/>
                  <a:gd name="connsiteX7" fmla="*/ 45520 w 91040"/>
                  <a:gd name="connsiteY7" fmla="*/ 91019 h 91019"/>
                  <a:gd name="connsiteX8" fmla="*/ 0 w 91040"/>
                  <a:gd name="connsiteY8" fmla="*/ 45510 h 91019"/>
                  <a:gd name="connsiteX9" fmla="*/ 45520 w 91040"/>
                  <a:gd name="connsiteY9" fmla="*/ 0 h 91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1040" h="91019">
                    <a:moveTo>
                      <a:pt x="45520" y="63469"/>
                    </a:moveTo>
                    <a:cubicBezTo>
                      <a:pt x="55443" y="63469"/>
                      <a:pt x="63484" y="55430"/>
                      <a:pt x="63484" y="45510"/>
                    </a:cubicBezTo>
                    <a:cubicBezTo>
                      <a:pt x="63484" y="35589"/>
                      <a:pt x="55443" y="27550"/>
                      <a:pt x="45520" y="27550"/>
                    </a:cubicBezTo>
                    <a:cubicBezTo>
                      <a:pt x="35597" y="27550"/>
                      <a:pt x="27557" y="35589"/>
                      <a:pt x="27557" y="45510"/>
                    </a:cubicBezTo>
                    <a:cubicBezTo>
                      <a:pt x="27557" y="55430"/>
                      <a:pt x="35597" y="63469"/>
                      <a:pt x="45520" y="63469"/>
                    </a:cubicBezTo>
                    <a:moveTo>
                      <a:pt x="45520" y="0"/>
                    </a:moveTo>
                    <a:cubicBezTo>
                      <a:pt x="70663" y="0"/>
                      <a:pt x="91040" y="20372"/>
                      <a:pt x="91040" y="45510"/>
                    </a:cubicBezTo>
                    <a:cubicBezTo>
                      <a:pt x="91040" y="70647"/>
                      <a:pt x="70663" y="91019"/>
                      <a:pt x="45520" y="91019"/>
                    </a:cubicBezTo>
                    <a:cubicBezTo>
                      <a:pt x="20380" y="91019"/>
                      <a:pt x="0" y="70647"/>
                      <a:pt x="0" y="45510"/>
                    </a:cubicBezTo>
                    <a:cubicBezTo>
                      <a:pt x="0" y="20372"/>
                      <a:pt x="20380" y="0"/>
                      <a:pt x="45520" y="0"/>
                    </a:cubicBezTo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8" name="Freihandform 587">
                <a:extLst>
                  <a:ext uri="{FF2B5EF4-FFF2-40B4-BE49-F238E27FC236}">
                    <a16:creationId xmlns:a16="http://schemas.microsoft.com/office/drawing/2014/main" id="{5EF103DE-ACB9-0C47-B3DF-ACCCEECC06D9}"/>
                  </a:ext>
                </a:extLst>
              </p:cNvPr>
              <p:cNvSpPr/>
              <p:nvPr/>
            </p:nvSpPr>
            <p:spPr>
              <a:xfrm>
                <a:off x="-3171972" y="1194493"/>
                <a:ext cx="91040" cy="91019"/>
              </a:xfrm>
              <a:custGeom>
                <a:avLst/>
                <a:gdLst>
                  <a:gd name="connsiteX0" fmla="*/ 45520 w 91040"/>
                  <a:gd name="connsiteY0" fmla="*/ 63469 h 91019"/>
                  <a:gd name="connsiteX1" fmla="*/ 63484 w 91040"/>
                  <a:gd name="connsiteY1" fmla="*/ 45510 h 91019"/>
                  <a:gd name="connsiteX2" fmla="*/ 45520 w 91040"/>
                  <a:gd name="connsiteY2" fmla="*/ 27550 h 91019"/>
                  <a:gd name="connsiteX3" fmla="*/ 27556 w 91040"/>
                  <a:gd name="connsiteY3" fmla="*/ 45510 h 91019"/>
                  <a:gd name="connsiteX4" fmla="*/ 45520 w 91040"/>
                  <a:gd name="connsiteY4" fmla="*/ 63469 h 91019"/>
                  <a:gd name="connsiteX5" fmla="*/ 45520 w 91040"/>
                  <a:gd name="connsiteY5" fmla="*/ 0 h 91019"/>
                  <a:gd name="connsiteX6" fmla="*/ 91040 w 91040"/>
                  <a:gd name="connsiteY6" fmla="*/ 45510 h 91019"/>
                  <a:gd name="connsiteX7" fmla="*/ 45520 w 91040"/>
                  <a:gd name="connsiteY7" fmla="*/ 91019 h 91019"/>
                  <a:gd name="connsiteX8" fmla="*/ 0 w 91040"/>
                  <a:gd name="connsiteY8" fmla="*/ 45510 h 91019"/>
                  <a:gd name="connsiteX9" fmla="*/ 45520 w 91040"/>
                  <a:gd name="connsiteY9" fmla="*/ 0 h 91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1040" h="91019">
                    <a:moveTo>
                      <a:pt x="45520" y="63469"/>
                    </a:moveTo>
                    <a:cubicBezTo>
                      <a:pt x="55443" y="63469"/>
                      <a:pt x="63484" y="55430"/>
                      <a:pt x="63484" y="45510"/>
                    </a:cubicBezTo>
                    <a:cubicBezTo>
                      <a:pt x="63484" y="35589"/>
                      <a:pt x="55443" y="27550"/>
                      <a:pt x="45520" y="27550"/>
                    </a:cubicBezTo>
                    <a:cubicBezTo>
                      <a:pt x="35597" y="27550"/>
                      <a:pt x="27556" y="35589"/>
                      <a:pt x="27556" y="45510"/>
                    </a:cubicBezTo>
                    <a:cubicBezTo>
                      <a:pt x="27556" y="55430"/>
                      <a:pt x="35597" y="63469"/>
                      <a:pt x="45520" y="63469"/>
                    </a:cubicBezTo>
                    <a:moveTo>
                      <a:pt x="45520" y="0"/>
                    </a:moveTo>
                    <a:cubicBezTo>
                      <a:pt x="70663" y="0"/>
                      <a:pt x="91040" y="20372"/>
                      <a:pt x="91040" y="45510"/>
                    </a:cubicBezTo>
                    <a:cubicBezTo>
                      <a:pt x="91040" y="70647"/>
                      <a:pt x="70663" y="91019"/>
                      <a:pt x="45520" y="91019"/>
                    </a:cubicBezTo>
                    <a:cubicBezTo>
                      <a:pt x="20377" y="91019"/>
                      <a:pt x="0" y="70647"/>
                      <a:pt x="0" y="45510"/>
                    </a:cubicBezTo>
                    <a:cubicBezTo>
                      <a:pt x="0" y="20372"/>
                      <a:pt x="20377" y="0"/>
                      <a:pt x="45520" y="0"/>
                    </a:cubicBezTo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9" name="Freihandform 588">
                <a:extLst>
                  <a:ext uri="{FF2B5EF4-FFF2-40B4-BE49-F238E27FC236}">
                    <a16:creationId xmlns:a16="http://schemas.microsoft.com/office/drawing/2014/main" id="{625DB13A-A257-3A46-B22C-72AA28D821CD}"/>
                  </a:ext>
                </a:extLst>
              </p:cNvPr>
              <p:cNvSpPr/>
              <p:nvPr/>
            </p:nvSpPr>
            <p:spPr>
              <a:xfrm>
                <a:off x="-2950176" y="1178549"/>
                <a:ext cx="6110" cy="6108"/>
              </a:xfrm>
              <a:custGeom>
                <a:avLst/>
                <a:gdLst>
                  <a:gd name="connsiteX0" fmla="*/ 0 w 6110"/>
                  <a:gd name="connsiteY0" fmla="*/ 0 h 6108"/>
                  <a:gd name="connsiteX1" fmla="*/ 0 w 6110"/>
                  <a:gd name="connsiteY1" fmla="*/ 0 h 6108"/>
                  <a:gd name="connsiteX2" fmla="*/ 0 w 6110"/>
                  <a:gd name="connsiteY2" fmla="*/ 0 h 6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110" h="6108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534" name="Freihandform 533">
              <a:extLst>
                <a:ext uri="{FF2B5EF4-FFF2-40B4-BE49-F238E27FC236}">
                  <a16:creationId xmlns:a16="http://schemas.microsoft.com/office/drawing/2014/main" id="{4AD4A891-D976-FE4B-BF09-2809F0609AE2}"/>
                </a:ext>
              </a:extLst>
            </p:cNvPr>
            <p:cNvSpPr/>
            <p:nvPr/>
          </p:nvSpPr>
          <p:spPr>
            <a:xfrm>
              <a:off x="2259107" y="4005198"/>
              <a:ext cx="139952" cy="60856"/>
            </a:xfrm>
            <a:custGeom>
              <a:avLst/>
              <a:gdLst>
                <a:gd name="connsiteX0" fmla="*/ 53158 w 53524"/>
                <a:gd name="connsiteY0" fmla="*/ 0 h 23274"/>
                <a:gd name="connsiteX1" fmla="*/ 0 w 53524"/>
                <a:gd name="connsiteY1" fmla="*/ 8125 h 23274"/>
                <a:gd name="connsiteX2" fmla="*/ 183 w 53524"/>
                <a:gd name="connsiteY2" fmla="*/ 20586 h 23274"/>
                <a:gd name="connsiteX3" fmla="*/ 53524 w 53524"/>
                <a:gd name="connsiteY3" fmla="*/ 23274 h 23274"/>
                <a:gd name="connsiteX4" fmla="*/ 53158 w 53524"/>
                <a:gd name="connsiteY4" fmla="*/ 0 h 23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24" h="23274">
                  <a:moveTo>
                    <a:pt x="53158" y="0"/>
                  </a:moveTo>
                  <a:lnTo>
                    <a:pt x="0" y="8125"/>
                  </a:lnTo>
                  <a:lnTo>
                    <a:pt x="183" y="20586"/>
                  </a:lnTo>
                  <a:lnTo>
                    <a:pt x="53524" y="23274"/>
                  </a:lnTo>
                  <a:lnTo>
                    <a:pt x="53158" y="0"/>
                  </a:lnTo>
                  <a:close/>
                </a:path>
              </a:pathLst>
            </a:custGeom>
            <a:grpFill/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35" name="Grafik 5">
              <a:extLst>
                <a:ext uri="{FF2B5EF4-FFF2-40B4-BE49-F238E27FC236}">
                  <a16:creationId xmlns:a16="http://schemas.microsoft.com/office/drawing/2014/main" id="{41260F21-1722-0F4C-BFC5-2287B6021CC7}"/>
                </a:ext>
              </a:extLst>
            </p:cNvPr>
            <p:cNvGrpSpPr/>
            <p:nvPr/>
          </p:nvGrpSpPr>
          <p:grpSpPr>
            <a:xfrm>
              <a:off x="2624511" y="3382105"/>
              <a:ext cx="342758" cy="374495"/>
              <a:chOff x="-2901225" y="951490"/>
              <a:chExt cx="131086" cy="143224"/>
            </a:xfrm>
            <a:grpFill/>
          </p:grpSpPr>
          <p:sp>
            <p:nvSpPr>
              <p:cNvPr id="581" name="Freihandform 580">
                <a:extLst>
                  <a:ext uri="{FF2B5EF4-FFF2-40B4-BE49-F238E27FC236}">
                    <a16:creationId xmlns:a16="http://schemas.microsoft.com/office/drawing/2014/main" id="{243B214B-B9A7-954B-AEBC-F778AA24FD31}"/>
                  </a:ext>
                </a:extLst>
              </p:cNvPr>
              <p:cNvSpPr/>
              <p:nvPr/>
            </p:nvSpPr>
            <p:spPr>
              <a:xfrm>
                <a:off x="-2818150" y="1006927"/>
                <a:ext cx="48012" cy="87787"/>
              </a:xfrm>
              <a:custGeom>
                <a:avLst/>
                <a:gdLst>
                  <a:gd name="connsiteX0" fmla="*/ 47427 w 48012"/>
                  <a:gd name="connsiteY0" fmla="*/ 71073 h 87787"/>
                  <a:gd name="connsiteX1" fmla="*/ 22987 w 48012"/>
                  <a:gd name="connsiteY1" fmla="*/ 518 h 87787"/>
                  <a:gd name="connsiteX2" fmla="*/ 12172 w 48012"/>
                  <a:gd name="connsiteY2" fmla="*/ 1496 h 87787"/>
                  <a:gd name="connsiteX3" fmla="*/ 1174 w 48012"/>
                  <a:gd name="connsiteY3" fmla="*/ 32344 h 87787"/>
                  <a:gd name="connsiteX4" fmla="*/ 4045 w 48012"/>
                  <a:gd name="connsiteY4" fmla="*/ 70524 h 87787"/>
                  <a:gd name="connsiteX5" fmla="*/ 19632 w 48012"/>
                  <a:gd name="connsiteY5" fmla="*/ 87768 h 87787"/>
                  <a:gd name="connsiteX6" fmla="*/ 22742 w 48012"/>
                  <a:gd name="connsiteY6" fmla="*/ 87628 h 87787"/>
                  <a:gd name="connsiteX7" fmla="*/ 33252 w 48012"/>
                  <a:gd name="connsiteY7" fmla="*/ 86223 h 87787"/>
                  <a:gd name="connsiteX8" fmla="*/ 47427 w 48012"/>
                  <a:gd name="connsiteY8" fmla="*/ 71073 h 87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012" h="87787">
                    <a:moveTo>
                      <a:pt x="47427" y="71073"/>
                    </a:moveTo>
                    <a:cubicBezTo>
                      <a:pt x="48955" y="49082"/>
                      <a:pt x="49443" y="7421"/>
                      <a:pt x="22987" y="518"/>
                    </a:cubicBezTo>
                    <a:cubicBezTo>
                      <a:pt x="19376" y="-422"/>
                      <a:pt x="15557" y="-74"/>
                      <a:pt x="12172" y="1496"/>
                    </a:cubicBezTo>
                    <a:cubicBezTo>
                      <a:pt x="5695" y="4489"/>
                      <a:pt x="-3225" y="12308"/>
                      <a:pt x="1174" y="32344"/>
                    </a:cubicBezTo>
                    <a:cubicBezTo>
                      <a:pt x="3826" y="44886"/>
                      <a:pt x="4791" y="57726"/>
                      <a:pt x="4045" y="70524"/>
                    </a:cubicBezTo>
                    <a:cubicBezTo>
                      <a:pt x="3587" y="79589"/>
                      <a:pt x="10565" y="87304"/>
                      <a:pt x="19632" y="87768"/>
                    </a:cubicBezTo>
                    <a:cubicBezTo>
                      <a:pt x="20671" y="87817"/>
                      <a:pt x="21710" y="87774"/>
                      <a:pt x="22742" y="87628"/>
                    </a:cubicBezTo>
                    <a:lnTo>
                      <a:pt x="33252" y="86223"/>
                    </a:lnTo>
                    <a:cubicBezTo>
                      <a:pt x="40969" y="85172"/>
                      <a:pt x="46889" y="78844"/>
                      <a:pt x="47427" y="71073"/>
                    </a:cubicBezTo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2" name="Freihandform 581">
                <a:extLst>
                  <a:ext uri="{FF2B5EF4-FFF2-40B4-BE49-F238E27FC236}">
                    <a16:creationId xmlns:a16="http://schemas.microsoft.com/office/drawing/2014/main" id="{368C3EC6-7543-A142-B858-845C90896403}"/>
                  </a:ext>
                </a:extLst>
              </p:cNvPr>
              <p:cNvSpPr/>
              <p:nvPr/>
            </p:nvSpPr>
            <p:spPr>
              <a:xfrm>
                <a:off x="-2852720" y="951490"/>
                <a:ext cx="51080" cy="51068"/>
              </a:xfrm>
              <a:custGeom>
                <a:avLst/>
                <a:gdLst>
                  <a:gd name="connsiteX0" fmla="*/ 0 w 51080"/>
                  <a:gd name="connsiteY0" fmla="*/ 25534 h 51068"/>
                  <a:gd name="connsiteX1" fmla="*/ 25540 w 51080"/>
                  <a:gd name="connsiteY1" fmla="*/ 51068 h 51068"/>
                  <a:gd name="connsiteX2" fmla="*/ 51080 w 51080"/>
                  <a:gd name="connsiteY2" fmla="*/ 25534 h 51068"/>
                  <a:gd name="connsiteX3" fmla="*/ 25540 w 51080"/>
                  <a:gd name="connsiteY3" fmla="*/ 0 h 51068"/>
                  <a:gd name="connsiteX4" fmla="*/ 0 w 51080"/>
                  <a:gd name="connsiteY4" fmla="*/ 25534 h 51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080" h="51068">
                    <a:moveTo>
                      <a:pt x="0" y="25534"/>
                    </a:moveTo>
                    <a:cubicBezTo>
                      <a:pt x="0" y="39639"/>
                      <a:pt x="11432" y="51068"/>
                      <a:pt x="25540" y="51068"/>
                    </a:cubicBezTo>
                    <a:cubicBezTo>
                      <a:pt x="39648" y="51068"/>
                      <a:pt x="51080" y="39639"/>
                      <a:pt x="51080" y="25534"/>
                    </a:cubicBezTo>
                    <a:cubicBezTo>
                      <a:pt x="51080" y="11429"/>
                      <a:pt x="39648" y="0"/>
                      <a:pt x="25540" y="0"/>
                    </a:cubicBezTo>
                    <a:cubicBezTo>
                      <a:pt x="11432" y="0"/>
                      <a:pt x="0" y="11429"/>
                      <a:pt x="0" y="25534"/>
                    </a:cubicBezTo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3" name="Freihandform 582">
                <a:extLst>
                  <a:ext uri="{FF2B5EF4-FFF2-40B4-BE49-F238E27FC236}">
                    <a16:creationId xmlns:a16="http://schemas.microsoft.com/office/drawing/2014/main" id="{776AAA60-046C-7543-8AAE-41E6B65E8385}"/>
                  </a:ext>
                </a:extLst>
              </p:cNvPr>
              <p:cNvSpPr/>
              <p:nvPr/>
            </p:nvSpPr>
            <p:spPr>
              <a:xfrm>
                <a:off x="-2870992" y="959187"/>
                <a:ext cx="38190" cy="19660"/>
              </a:xfrm>
              <a:custGeom>
                <a:avLst/>
                <a:gdLst>
                  <a:gd name="connsiteX0" fmla="*/ 37152 w 38190"/>
                  <a:gd name="connsiteY0" fmla="*/ 0 h 19660"/>
                  <a:gd name="connsiteX1" fmla="*/ 3486 w 38190"/>
                  <a:gd name="connsiteY1" fmla="*/ 5620 h 19660"/>
                  <a:gd name="connsiteX2" fmla="*/ 5563 w 38190"/>
                  <a:gd name="connsiteY2" fmla="*/ 18326 h 19660"/>
                  <a:gd name="connsiteX3" fmla="*/ 38191 w 38190"/>
                  <a:gd name="connsiteY3" fmla="*/ 19364 h 19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190" h="19660">
                    <a:moveTo>
                      <a:pt x="37152" y="0"/>
                    </a:moveTo>
                    <a:cubicBezTo>
                      <a:pt x="37152" y="0"/>
                      <a:pt x="9107" y="7636"/>
                      <a:pt x="3486" y="5620"/>
                    </a:cubicBezTo>
                    <a:cubicBezTo>
                      <a:pt x="-2136" y="3604"/>
                      <a:pt x="-608" y="16310"/>
                      <a:pt x="5563" y="18326"/>
                    </a:cubicBezTo>
                    <a:cubicBezTo>
                      <a:pt x="16390" y="19633"/>
                      <a:pt x="27303" y="19981"/>
                      <a:pt x="38191" y="19364"/>
                    </a:cubicBezTo>
                    <a:close/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4" name="Freihandform 583">
                <a:extLst>
                  <a:ext uri="{FF2B5EF4-FFF2-40B4-BE49-F238E27FC236}">
                    <a16:creationId xmlns:a16="http://schemas.microsoft.com/office/drawing/2014/main" id="{DB477369-A067-184E-A381-894FB8058CAF}"/>
                  </a:ext>
                </a:extLst>
              </p:cNvPr>
              <p:cNvSpPr/>
              <p:nvPr/>
            </p:nvSpPr>
            <p:spPr>
              <a:xfrm>
                <a:off x="-2882648" y="1019509"/>
                <a:ext cx="84497" cy="43152"/>
              </a:xfrm>
              <a:custGeom>
                <a:avLst/>
                <a:gdLst>
                  <a:gd name="connsiteX0" fmla="*/ 67688 w 84497"/>
                  <a:gd name="connsiteY0" fmla="*/ 31 h 43152"/>
                  <a:gd name="connsiteX1" fmla="*/ 15141 w 84497"/>
                  <a:gd name="connsiteY1" fmla="*/ 23488 h 43152"/>
                  <a:gd name="connsiteX2" fmla="*/ 1882 w 84497"/>
                  <a:gd name="connsiteY2" fmla="*/ 35156 h 43152"/>
                  <a:gd name="connsiteX3" fmla="*/ 6587 w 84497"/>
                  <a:gd name="connsiteY3" fmla="*/ 39432 h 43152"/>
                  <a:gd name="connsiteX4" fmla="*/ 69215 w 84497"/>
                  <a:gd name="connsiteY4" fmla="*/ 26604 h 43152"/>
                  <a:gd name="connsiteX5" fmla="*/ 67688 w 84497"/>
                  <a:gd name="connsiteY5" fmla="*/ 31 h 43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4497" h="43152">
                    <a:moveTo>
                      <a:pt x="67688" y="31"/>
                    </a:moveTo>
                    <a:cubicBezTo>
                      <a:pt x="67688" y="2108"/>
                      <a:pt x="40131" y="27092"/>
                      <a:pt x="15141" y="23488"/>
                    </a:cubicBezTo>
                    <a:cubicBezTo>
                      <a:pt x="-3495" y="20861"/>
                      <a:pt x="-745" y="30208"/>
                      <a:pt x="1882" y="35156"/>
                    </a:cubicBezTo>
                    <a:cubicBezTo>
                      <a:pt x="2890" y="37098"/>
                      <a:pt x="4558" y="38613"/>
                      <a:pt x="6587" y="39432"/>
                    </a:cubicBezTo>
                    <a:cubicBezTo>
                      <a:pt x="15019" y="42853"/>
                      <a:pt x="40498" y="49878"/>
                      <a:pt x="69215" y="26604"/>
                    </a:cubicBezTo>
                    <a:cubicBezTo>
                      <a:pt x="104470" y="-1985"/>
                      <a:pt x="67688" y="31"/>
                      <a:pt x="67688" y="31"/>
                    </a:cubicBezTo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5" name="Freihandform 584">
                <a:extLst>
                  <a:ext uri="{FF2B5EF4-FFF2-40B4-BE49-F238E27FC236}">
                    <a16:creationId xmlns:a16="http://schemas.microsoft.com/office/drawing/2014/main" id="{90F4C56E-02D7-344E-90B9-8D36DE29DEA0}"/>
                  </a:ext>
                </a:extLst>
              </p:cNvPr>
              <p:cNvSpPr/>
              <p:nvPr/>
            </p:nvSpPr>
            <p:spPr>
              <a:xfrm>
                <a:off x="-2901225" y="1046667"/>
                <a:ext cx="33984" cy="30781"/>
              </a:xfrm>
              <a:custGeom>
                <a:avLst/>
                <a:gdLst>
                  <a:gd name="connsiteX0" fmla="*/ 14043 w 33984"/>
                  <a:gd name="connsiteY0" fmla="*/ 18627 h 30781"/>
                  <a:gd name="connsiteX1" fmla="*/ 33779 w 33984"/>
                  <a:gd name="connsiteY1" fmla="*/ 30416 h 30781"/>
                  <a:gd name="connsiteX2" fmla="*/ 20031 w 33984"/>
                  <a:gd name="connsiteY2" fmla="*/ 12090 h 30781"/>
                  <a:gd name="connsiteX3" fmla="*/ 296 w 33984"/>
                  <a:gd name="connsiteY3" fmla="*/ 362 h 30781"/>
                  <a:gd name="connsiteX4" fmla="*/ 8850 w 33984"/>
                  <a:gd name="connsiteY4" fmla="*/ 13740 h 30781"/>
                  <a:gd name="connsiteX5" fmla="*/ 14043 w 33984"/>
                  <a:gd name="connsiteY5" fmla="*/ 18749 h 3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3984" h="30781">
                    <a:moveTo>
                      <a:pt x="14043" y="18627"/>
                    </a:moveTo>
                    <a:cubicBezTo>
                      <a:pt x="23270" y="26996"/>
                      <a:pt x="32374" y="32249"/>
                      <a:pt x="33779" y="30416"/>
                    </a:cubicBezTo>
                    <a:cubicBezTo>
                      <a:pt x="35184" y="28584"/>
                      <a:pt x="29257" y="20337"/>
                      <a:pt x="20031" y="12090"/>
                    </a:cubicBezTo>
                    <a:cubicBezTo>
                      <a:pt x="10805" y="3844"/>
                      <a:pt x="1701" y="-1471"/>
                      <a:pt x="296" y="362"/>
                    </a:cubicBezTo>
                    <a:cubicBezTo>
                      <a:pt x="-1110" y="2194"/>
                      <a:pt x="2617" y="7326"/>
                      <a:pt x="8850" y="13740"/>
                    </a:cubicBezTo>
                    <a:cubicBezTo>
                      <a:pt x="10438" y="15389"/>
                      <a:pt x="12149" y="17100"/>
                      <a:pt x="14043" y="18749"/>
                    </a:cubicBezTo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536" name="Freihandform 535">
              <a:extLst>
                <a:ext uri="{FF2B5EF4-FFF2-40B4-BE49-F238E27FC236}">
                  <a16:creationId xmlns:a16="http://schemas.microsoft.com/office/drawing/2014/main" id="{68D5427F-8EE2-614F-8775-A8ED7F3A2C57}"/>
                </a:ext>
              </a:extLst>
            </p:cNvPr>
            <p:cNvSpPr/>
            <p:nvPr/>
          </p:nvSpPr>
          <p:spPr>
            <a:xfrm>
              <a:off x="2592533" y="3665939"/>
              <a:ext cx="85471" cy="80500"/>
            </a:xfrm>
            <a:custGeom>
              <a:avLst/>
              <a:gdLst>
                <a:gd name="connsiteX0" fmla="*/ 32689 w 32688"/>
                <a:gd name="connsiteY0" fmla="*/ 7819 h 30787"/>
                <a:gd name="connsiteX1" fmla="*/ 9226 w 32688"/>
                <a:gd name="connsiteY1" fmla="*/ 30788 h 30787"/>
                <a:gd name="connsiteX2" fmla="*/ 0 w 32688"/>
                <a:gd name="connsiteY2" fmla="*/ 17471 h 30787"/>
                <a:gd name="connsiteX3" fmla="*/ 21080 w 32688"/>
                <a:gd name="connsiteY3" fmla="*/ 0 h 30787"/>
                <a:gd name="connsiteX4" fmla="*/ 32689 w 32688"/>
                <a:gd name="connsiteY4" fmla="*/ 7819 h 30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88" h="30787">
                  <a:moveTo>
                    <a:pt x="32689" y="7819"/>
                  </a:moveTo>
                  <a:lnTo>
                    <a:pt x="9226" y="30788"/>
                  </a:lnTo>
                  <a:lnTo>
                    <a:pt x="0" y="17471"/>
                  </a:lnTo>
                  <a:lnTo>
                    <a:pt x="21080" y="0"/>
                  </a:lnTo>
                  <a:lnTo>
                    <a:pt x="32689" y="7819"/>
                  </a:lnTo>
                  <a:close/>
                </a:path>
              </a:pathLst>
            </a:custGeom>
            <a:grpFill/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37" name="Grafik 5">
              <a:extLst>
                <a:ext uri="{FF2B5EF4-FFF2-40B4-BE49-F238E27FC236}">
                  <a16:creationId xmlns:a16="http://schemas.microsoft.com/office/drawing/2014/main" id="{254E727B-24FD-4444-9856-6882447F8603}"/>
                </a:ext>
              </a:extLst>
            </p:cNvPr>
            <p:cNvGrpSpPr/>
            <p:nvPr/>
          </p:nvGrpSpPr>
          <p:grpSpPr>
            <a:xfrm>
              <a:off x="2385000" y="3309587"/>
              <a:ext cx="1003156" cy="946060"/>
              <a:chOff x="-2992825" y="923756"/>
              <a:chExt cx="383652" cy="361816"/>
            </a:xfrm>
            <a:grpFill/>
          </p:grpSpPr>
          <p:sp>
            <p:nvSpPr>
              <p:cNvPr id="577" name="Freihandform 576">
                <a:extLst>
                  <a:ext uri="{FF2B5EF4-FFF2-40B4-BE49-F238E27FC236}">
                    <a16:creationId xmlns:a16="http://schemas.microsoft.com/office/drawing/2014/main" id="{4431C2D9-0441-6047-A609-97432E46D3B7}"/>
                  </a:ext>
                </a:extLst>
              </p:cNvPr>
              <p:cNvSpPr/>
              <p:nvPr/>
            </p:nvSpPr>
            <p:spPr>
              <a:xfrm>
                <a:off x="-2992825" y="923756"/>
                <a:ext cx="309109" cy="299385"/>
              </a:xfrm>
              <a:custGeom>
                <a:avLst/>
                <a:gdLst>
                  <a:gd name="connsiteX0" fmla="*/ 93668 w 309109"/>
                  <a:gd name="connsiteY0" fmla="*/ 149174 h 299385"/>
                  <a:gd name="connsiteX1" fmla="*/ 93668 w 309109"/>
                  <a:gd name="connsiteY1" fmla="*/ 199204 h 299385"/>
                  <a:gd name="connsiteX2" fmla="*/ 120735 w 309109"/>
                  <a:gd name="connsiteY2" fmla="*/ 159375 h 299385"/>
                  <a:gd name="connsiteX3" fmla="*/ 233527 w 309109"/>
                  <a:gd name="connsiteY3" fmla="*/ 159375 h 299385"/>
                  <a:gd name="connsiteX4" fmla="*/ 232000 w 309109"/>
                  <a:gd name="connsiteY4" fmla="*/ 17532 h 299385"/>
                  <a:gd name="connsiteX5" fmla="*/ 123790 w 309109"/>
                  <a:gd name="connsiteY5" fmla="*/ 17532 h 299385"/>
                  <a:gd name="connsiteX6" fmla="*/ 73810 w 309109"/>
                  <a:gd name="connsiteY6" fmla="*/ 149174 h 299385"/>
                  <a:gd name="connsiteX7" fmla="*/ 10509 w 309109"/>
                  <a:gd name="connsiteY7" fmla="*/ 206351 h 299385"/>
                  <a:gd name="connsiteX8" fmla="*/ 10509 w 309109"/>
                  <a:gd name="connsiteY8" fmla="*/ 3238 h 299385"/>
                  <a:gd name="connsiteX9" fmla="*/ 23280 w 309109"/>
                  <a:gd name="connsiteY9" fmla="*/ 3238 h 299385"/>
                  <a:gd name="connsiteX10" fmla="*/ 23280 w 309109"/>
                  <a:gd name="connsiteY10" fmla="*/ 209894 h 299385"/>
                  <a:gd name="connsiteX11" fmla="*/ 29390 w 309109"/>
                  <a:gd name="connsiteY11" fmla="*/ 209894 h 299385"/>
                  <a:gd name="connsiteX12" fmla="*/ 29390 w 309109"/>
                  <a:gd name="connsiteY12" fmla="*/ 254793 h 299385"/>
                  <a:gd name="connsiteX13" fmla="*/ 42526 w 309109"/>
                  <a:gd name="connsiteY13" fmla="*/ 254793 h 299385"/>
                  <a:gd name="connsiteX14" fmla="*/ 42526 w 309109"/>
                  <a:gd name="connsiteY14" fmla="*/ 254793 h 299385"/>
                  <a:gd name="connsiteX15" fmla="*/ 42526 w 309109"/>
                  <a:gd name="connsiteY15" fmla="*/ 254793 h 299385"/>
                  <a:gd name="connsiteX16" fmla="*/ 42526 w 309109"/>
                  <a:gd name="connsiteY16" fmla="*/ 177579 h 299385"/>
                  <a:gd name="connsiteX17" fmla="*/ 110409 w 309109"/>
                  <a:gd name="connsiteY17" fmla="*/ 0 h 299385"/>
                  <a:gd name="connsiteX18" fmla="*/ 247397 w 309109"/>
                  <a:gd name="connsiteY18" fmla="*/ 0 h 299385"/>
                  <a:gd name="connsiteX19" fmla="*/ 247397 w 309109"/>
                  <a:gd name="connsiteY19" fmla="*/ 184299 h 299385"/>
                  <a:gd name="connsiteX20" fmla="*/ 292307 w 309109"/>
                  <a:gd name="connsiteY20" fmla="*/ 184299 h 299385"/>
                  <a:gd name="connsiteX21" fmla="*/ 292307 w 309109"/>
                  <a:gd name="connsiteY21" fmla="*/ 219973 h 299385"/>
                  <a:gd name="connsiteX22" fmla="*/ 309109 w 309109"/>
                  <a:gd name="connsiteY22" fmla="*/ 219973 h 299385"/>
                  <a:gd name="connsiteX23" fmla="*/ 309109 w 309109"/>
                  <a:gd name="connsiteY23" fmla="*/ 299386 h 299385"/>
                  <a:gd name="connsiteX24" fmla="*/ 289068 w 309109"/>
                  <a:gd name="connsiteY24" fmla="*/ 299386 h 299385"/>
                  <a:gd name="connsiteX25" fmla="*/ 226758 w 309109"/>
                  <a:gd name="connsiteY25" fmla="*/ 285812 h 299385"/>
                  <a:gd name="connsiteX26" fmla="*/ 213181 w 309109"/>
                  <a:gd name="connsiteY26" fmla="*/ 299386 h 299385"/>
                  <a:gd name="connsiteX27" fmla="*/ 112976 w 309109"/>
                  <a:gd name="connsiteY27" fmla="*/ 299386 h 299385"/>
                  <a:gd name="connsiteX28" fmla="*/ 50573 w 309109"/>
                  <a:gd name="connsiteY28" fmla="*/ 285843 h 299385"/>
                  <a:gd name="connsiteX29" fmla="*/ 37027 w 309109"/>
                  <a:gd name="connsiteY29" fmla="*/ 299386 h 299385"/>
                  <a:gd name="connsiteX30" fmla="*/ 12220 w 309109"/>
                  <a:gd name="connsiteY30" fmla="*/ 299386 h 299385"/>
                  <a:gd name="connsiteX31" fmla="*/ 0 w 309109"/>
                  <a:gd name="connsiteY31" fmla="*/ 287657 h 299385"/>
                  <a:gd name="connsiteX32" fmla="*/ 0 w 309109"/>
                  <a:gd name="connsiteY32" fmla="*/ 208245 h 299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09109" h="299385">
                    <a:moveTo>
                      <a:pt x="93668" y="149174"/>
                    </a:moveTo>
                    <a:lnTo>
                      <a:pt x="93668" y="199204"/>
                    </a:lnTo>
                    <a:lnTo>
                      <a:pt x="120735" y="159375"/>
                    </a:lnTo>
                    <a:lnTo>
                      <a:pt x="233527" y="159375"/>
                    </a:lnTo>
                    <a:lnTo>
                      <a:pt x="232000" y="17532"/>
                    </a:lnTo>
                    <a:lnTo>
                      <a:pt x="123790" y="17532"/>
                    </a:lnTo>
                    <a:lnTo>
                      <a:pt x="73810" y="149174"/>
                    </a:lnTo>
                    <a:close/>
                    <a:moveTo>
                      <a:pt x="10509" y="206351"/>
                    </a:moveTo>
                    <a:lnTo>
                      <a:pt x="10509" y="3238"/>
                    </a:lnTo>
                    <a:lnTo>
                      <a:pt x="23280" y="3238"/>
                    </a:lnTo>
                    <a:lnTo>
                      <a:pt x="23280" y="209894"/>
                    </a:lnTo>
                    <a:lnTo>
                      <a:pt x="29390" y="209894"/>
                    </a:lnTo>
                    <a:lnTo>
                      <a:pt x="29390" y="254793"/>
                    </a:lnTo>
                    <a:cubicBezTo>
                      <a:pt x="33758" y="254432"/>
                      <a:pt x="38158" y="254432"/>
                      <a:pt x="42526" y="254793"/>
                    </a:cubicBezTo>
                    <a:cubicBezTo>
                      <a:pt x="42526" y="254793"/>
                      <a:pt x="42526" y="255159"/>
                      <a:pt x="42526" y="254793"/>
                    </a:cubicBezTo>
                    <a:cubicBezTo>
                      <a:pt x="42526" y="254426"/>
                      <a:pt x="42526" y="254793"/>
                      <a:pt x="42526" y="254793"/>
                    </a:cubicBezTo>
                    <a:cubicBezTo>
                      <a:pt x="41488" y="249539"/>
                      <a:pt x="42526" y="177579"/>
                      <a:pt x="42526" y="177579"/>
                    </a:cubicBezTo>
                    <a:lnTo>
                      <a:pt x="110409" y="0"/>
                    </a:lnTo>
                    <a:lnTo>
                      <a:pt x="247397" y="0"/>
                    </a:lnTo>
                    <a:lnTo>
                      <a:pt x="247397" y="184299"/>
                    </a:lnTo>
                    <a:lnTo>
                      <a:pt x="292307" y="184299"/>
                    </a:lnTo>
                    <a:lnTo>
                      <a:pt x="292307" y="219973"/>
                    </a:lnTo>
                    <a:lnTo>
                      <a:pt x="309109" y="219973"/>
                    </a:lnTo>
                    <a:lnTo>
                      <a:pt x="309109" y="299386"/>
                    </a:lnTo>
                    <a:lnTo>
                      <a:pt x="289068" y="299386"/>
                    </a:lnTo>
                    <a:cubicBezTo>
                      <a:pt x="275614" y="278433"/>
                      <a:pt x="247715" y="272355"/>
                      <a:pt x="226758" y="285812"/>
                    </a:cubicBezTo>
                    <a:cubicBezTo>
                      <a:pt x="221313" y="289307"/>
                      <a:pt x="216682" y="293937"/>
                      <a:pt x="213181" y="299386"/>
                    </a:cubicBezTo>
                    <a:lnTo>
                      <a:pt x="112976" y="299386"/>
                    </a:lnTo>
                    <a:cubicBezTo>
                      <a:pt x="99484" y="278421"/>
                      <a:pt x="71543" y="272355"/>
                      <a:pt x="50573" y="285843"/>
                    </a:cubicBezTo>
                    <a:cubicBezTo>
                      <a:pt x="45141" y="289337"/>
                      <a:pt x="40522" y="293955"/>
                      <a:pt x="37027" y="299386"/>
                    </a:cubicBezTo>
                    <a:lnTo>
                      <a:pt x="12220" y="299386"/>
                    </a:lnTo>
                    <a:lnTo>
                      <a:pt x="0" y="287657"/>
                    </a:lnTo>
                    <a:lnTo>
                      <a:pt x="0" y="208245"/>
                    </a:lnTo>
                    <a:close/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8" name="Freihandform 577">
                <a:extLst>
                  <a:ext uri="{FF2B5EF4-FFF2-40B4-BE49-F238E27FC236}">
                    <a16:creationId xmlns:a16="http://schemas.microsoft.com/office/drawing/2014/main" id="{B2EF264A-F8E6-F641-B3E8-68DF33BCC98E}"/>
                  </a:ext>
                </a:extLst>
              </p:cNvPr>
              <p:cNvSpPr/>
              <p:nvPr/>
            </p:nvSpPr>
            <p:spPr>
              <a:xfrm>
                <a:off x="-2955553" y="1210436"/>
                <a:ext cx="75154" cy="75136"/>
              </a:xfrm>
              <a:custGeom>
                <a:avLst/>
                <a:gdLst>
                  <a:gd name="connsiteX0" fmla="*/ 37516 w 75154"/>
                  <a:gd name="connsiteY0" fmla="*/ 52351 h 75136"/>
                  <a:gd name="connsiteX1" fmla="*/ 52425 w 75154"/>
                  <a:gd name="connsiteY1" fmla="*/ 37568 h 75136"/>
                  <a:gd name="connsiteX2" fmla="*/ 37638 w 75154"/>
                  <a:gd name="connsiteY2" fmla="*/ 22663 h 75136"/>
                  <a:gd name="connsiteX3" fmla="*/ 22730 w 75154"/>
                  <a:gd name="connsiteY3" fmla="*/ 37446 h 75136"/>
                  <a:gd name="connsiteX4" fmla="*/ 22730 w 75154"/>
                  <a:gd name="connsiteY4" fmla="*/ 37507 h 75136"/>
                  <a:gd name="connsiteX5" fmla="*/ 37455 w 75154"/>
                  <a:gd name="connsiteY5" fmla="*/ 52351 h 75136"/>
                  <a:gd name="connsiteX6" fmla="*/ 37516 w 75154"/>
                  <a:gd name="connsiteY6" fmla="*/ 52351 h 75136"/>
                  <a:gd name="connsiteX7" fmla="*/ 37516 w 75154"/>
                  <a:gd name="connsiteY7" fmla="*/ 0 h 75136"/>
                  <a:gd name="connsiteX8" fmla="*/ 75154 w 75154"/>
                  <a:gd name="connsiteY8" fmla="*/ 37507 h 75136"/>
                  <a:gd name="connsiteX9" fmla="*/ 37638 w 75154"/>
                  <a:gd name="connsiteY9" fmla="*/ 75137 h 75136"/>
                  <a:gd name="connsiteX10" fmla="*/ 0 w 75154"/>
                  <a:gd name="connsiteY10" fmla="*/ 37629 h 75136"/>
                  <a:gd name="connsiteX11" fmla="*/ 0 w 75154"/>
                  <a:gd name="connsiteY11" fmla="*/ 37507 h 75136"/>
                  <a:gd name="connsiteX12" fmla="*/ 37516 w 75154"/>
                  <a:gd name="connsiteY12" fmla="*/ 0 h 75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5154" h="75136">
                    <a:moveTo>
                      <a:pt x="37516" y="52351"/>
                    </a:moveTo>
                    <a:cubicBezTo>
                      <a:pt x="45716" y="52388"/>
                      <a:pt x="52388" y="45766"/>
                      <a:pt x="52425" y="37568"/>
                    </a:cubicBezTo>
                    <a:cubicBezTo>
                      <a:pt x="52455" y="29371"/>
                      <a:pt x="45838" y="22700"/>
                      <a:pt x="37638" y="22663"/>
                    </a:cubicBezTo>
                    <a:cubicBezTo>
                      <a:pt x="29438" y="22633"/>
                      <a:pt x="22766" y="29248"/>
                      <a:pt x="22730" y="37446"/>
                    </a:cubicBezTo>
                    <a:cubicBezTo>
                      <a:pt x="22730" y="37465"/>
                      <a:pt x="22730" y="37489"/>
                      <a:pt x="22730" y="37507"/>
                    </a:cubicBezTo>
                    <a:cubicBezTo>
                      <a:pt x="22693" y="45675"/>
                      <a:pt x="29286" y="52315"/>
                      <a:pt x="37455" y="52351"/>
                    </a:cubicBezTo>
                    <a:cubicBezTo>
                      <a:pt x="37473" y="52351"/>
                      <a:pt x="37498" y="52351"/>
                      <a:pt x="37516" y="52351"/>
                    </a:cubicBezTo>
                    <a:moveTo>
                      <a:pt x="37516" y="0"/>
                    </a:moveTo>
                    <a:cubicBezTo>
                      <a:pt x="58272" y="-37"/>
                      <a:pt x="75117" y="16756"/>
                      <a:pt x="75154" y="37507"/>
                    </a:cubicBezTo>
                    <a:cubicBezTo>
                      <a:pt x="75191" y="58258"/>
                      <a:pt x="58394" y="75100"/>
                      <a:pt x="37638" y="75137"/>
                    </a:cubicBezTo>
                    <a:cubicBezTo>
                      <a:pt x="16882" y="75173"/>
                      <a:pt x="37" y="58381"/>
                      <a:pt x="0" y="37629"/>
                    </a:cubicBezTo>
                    <a:cubicBezTo>
                      <a:pt x="0" y="37587"/>
                      <a:pt x="0" y="37550"/>
                      <a:pt x="0" y="37507"/>
                    </a:cubicBezTo>
                    <a:cubicBezTo>
                      <a:pt x="0" y="16793"/>
                      <a:pt x="16797" y="0"/>
                      <a:pt x="37516" y="0"/>
                    </a:cubicBezTo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9" name="Freihandform 578">
                <a:extLst>
                  <a:ext uri="{FF2B5EF4-FFF2-40B4-BE49-F238E27FC236}">
                    <a16:creationId xmlns:a16="http://schemas.microsoft.com/office/drawing/2014/main" id="{7FCD2917-77DE-204A-AD72-945246A09673}"/>
                  </a:ext>
                </a:extLst>
              </p:cNvPr>
              <p:cNvSpPr/>
              <p:nvPr/>
            </p:nvSpPr>
            <p:spPr>
              <a:xfrm>
                <a:off x="-2779338" y="1210436"/>
                <a:ext cx="75154" cy="75136"/>
              </a:xfrm>
              <a:custGeom>
                <a:avLst/>
                <a:gdLst>
                  <a:gd name="connsiteX0" fmla="*/ 37577 w 75154"/>
                  <a:gd name="connsiteY0" fmla="*/ 52351 h 75136"/>
                  <a:gd name="connsiteX1" fmla="*/ 52486 w 75154"/>
                  <a:gd name="connsiteY1" fmla="*/ 37568 h 75136"/>
                  <a:gd name="connsiteX2" fmla="*/ 37699 w 75154"/>
                  <a:gd name="connsiteY2" fmla="*/ 22663 h 75136"/>
                  <a:gd name="connsiteX3" fmla="*/ 22791 w 75154"/>
                  <a:gd name="connsiteY3" fmla="*/ 37446 h 75136"/>
                  <a:gd name="connsiteX4" fmla="*/ 22791 w 75154"/>
                  <a:gd name="connsiteY4" fmla="*/ 37507 h 75136"/>
                  <a:gd name="connsiteX5" fmla="*/ 37516 w 75154"/>
                  <a:gd name="connsiteY5" fmla="*/ 52351 h 75136"/>
                  <a:gd name="connsiteX6" fmla="*/ 37577 w 75154"/>
                  <a:gd name="connsiteY6" fmla="*/ 52351 h 75136"/>
                  <a:gd name="connsiteX7" fmla="*/ 37577 w 75154"/>
                  <a:gd name="connsiteY7" fmla="*/ 0 h 75136"/>
                  <a:gd name="connsiteX8" fmla="*/ 75154 w 75154"/>
                  <a:gd name="connsiteY8" fmla="*/ 37568 h 75136"/>
                  <a:gd name="connsiteX9" fmla="*/ 37577 w 75154"/>
                  <a:gd name="connsiteY9" fmla="*/ 75137 h 75136"/>
                  <a:gd name="connsiteX10" fmla="*/ 0 w 75154"/>
                  <a:gd name="connsiteY10" fmla="*/ 37568 h 75136"/>
                  <a:gd name="connsiteX11" fmla="*/ 0 w 75154"/>
                  <a:gd name="connsiteY11" fmla="*/ 37507 h 75136"/>
                  <a:gd name="connsiteX12" fmla="*/ 37516 w 75154"/>
                  <a:gd name="connsiteY12" fmla="*/ 0 h 75136"/>
                  <a:gd name="connsiteX13" fmla="*/ 37577 w 75154"/>
                  <a:gd name="connsiteY13" fmla="*/ 0 h 75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5154" h="75136">
                    <a:moveTo>
                      <a:pt x="37577" y="52351"/>
                    </a:moveTo>
                    <a:cubicBezTo>
                      <a:pt x="45777" y="52388"/>
                      <a:pt x="52449" y="45766"/>
                      <a:pt x="52486" y="37568"/>
                    </a:cubicBezTo>
                    <a:cubicBezTo>
                      <a:pt x="52522" y="29370"/>
                      <a:pt x="45899" y="22700"/>
                      <a:pt x="37699" y="22663"/>
                    </a:cubicBezTo>
                    <a:cubicBezTo>
                      <a:pt x="29500" y="22633"/>
                      <a:pt x="22827" y="29248"/>
                      <a:pt x="22791" y="37446"/>
                    </a:cubicBezTo>
                    <a:cubicBezTo>
                      <a:pt x="22791" y="37465"/>
                      <a:pt x="22791" y="37489"/>
                      <a:pt x="22791" y="37507"/>
                    </a:cubicBezTo>
                    <a:cubicBezTo>
                      <a:pt x="22754" y="45675"/>
                      <a:pt x="29347" y="52315"/>
                      <a:pt x="37516" y="52351"/>
                    </a:cubicBezTo>
                    <a:cubicBezTo>
                      <a:pt x="37534" y="52351"/>
                      <a:pt x="37559" y="52351"/>
                      <a:pt x="37577" y="52351"/>
                    </a:cubicBezTo>
                    <a:moveTo>
                      <a:pt x="37577" y="0"/>
                    </a:moveTo>
                    <a:cubicBezTo>
                      <a:pt x="58333" y="0"/>
                      <a:pt x="75154" y="16817"/>
                      <a:pt x="75154" y="37568"/>
                    </a:cubicBezTo>
                    <a:cubicBezTo>
                      <a:pt x="75154" y="58320"/>
                      <a:pt x="58333" y="75137"/>
                      <a:pt x="37577" y="75137"/>
                    </a:cubicBezTo>
                    <a:cubicBezTo>
                      <a:pt x="16821" y="75137"/>
                      <a:pt x="0" y="58320"/>
                      <a:pt x="0" y="37568"/>
                    </a:cubicBezTo>
                    <a:cubicBezTo>
                      <a:pt x="0" y="37550"/>
                      <a:pt x="0" y="37526"/>
                      <a:pt x="0" y="37507"/>
                    </a:cubicBezTo>
                    <a:cubicBezTo>
                      <a:pt x="0" y="16793"/>
                      <a:pt x="16797" y="0"/>
                      <a:pt x="37516" y="0"/>
                    </a:cubicBezTo>
                    <a:cubicBezTo>
                      <a:pt x="37534" y="0"/>
                      <a:pt x="37559" y="0"/>
                      <a:pt x="37577" y="0"/>
                    </a:cubicBezTo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0" name="Freihandform 579">
                <a:extLst>
                  <a:ext uri="{FF2B5EF4-FFF2-40B4-BE49-F238E27FC236}">
                    <a16:creationId xmlns:a16="http://schemas.microsoft.com/office/drawing/2014/main" id="{0F80EDEF-DFEC-A945-A9BC-8018E222E15A}"/>
                  </a:ext>
                </a:extLst>
              </p:cNvPr>
              <p:cNvSpPr/>
              <p:nvPr/>
            </p:nvSpPr>
            <p:spPr>
              <a:xfrm>
                <a:off x="-2609172" y="1205305"/>
                <a:ext cx="6110" cy="6108"/>
              </a:xfrm>
              <a:custGeom>
                <a:avLst/>
                <a:gdLst>
                  <a:gd name="connsiteX0" fmla="*/ 0 w 6110"/>
                  <a:gd name="connsiteY0" fmla="*/ 0 h 6108"/>
                  <a:gd name="connsiteX1" fmla="*/ 0 w 6110"/>
                  <a:gd name="connsiteY1" fmla="*/ 0 h 6108"/>
                  <a:gd name="connsiteX2" fmla="*/ 0 w 6110"/>
                  <a:gd name="connsiteY2" fmla="*/ 0 h 6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110" h="6108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538" name="Freihandform 537">
              <a:extLst>
                <a:ext uri="{FF2B5EF4-FFF2-40B4-BE49-F238E27FC236}">
                  <a16:creationId xmlns:a16="http://schemas.microsoft.com/office/drawing/2014/main" id="{9175C500-28FF-C048-B9EF-D0C32F431057}"/>
                </a:ext>
              </a:extLst>
            </p:cNvPr>
            <p:cNvSpPr/>
            <p:nvPr/>
          </p:nvSpPr>
          <p:spPr>
            <a:xfrm>
              <a:off x="3210180" y="4067811"/>
              <a:ext cx="104805" cy="45680"/>
            </a:xfrm>
            <a:custGeom>
              <a:avLst/>
              <a:gdLst>
                <a:gd name="connsiteX0" fmla="*/ 39838 w 40082"/>
                <a:gd name="connsiteY0" fmla="*/ 0 h 17470"/>
                <a:gd name="connsiteX1" fmla="*/ 0 w 40082"/>
                <a:gd name="connsiteY1" fmla="*/ 6048 h 17470"/>
                <a:gd name="connsiteX2" fmla="*/ 122 w 40082"/>
                <a:gd name="connsiteY2" fmla="*/ 15394 h 17470"/>
                <a:gd name="connsiteX3" fmla="*/ 40082 w 40082"/>
                <a:gd name="connsiteY3" fmla="*/ 17471 h 17470"/>
                <a:gd name="connsiteX4" fmla="*/ 39838 w 40082"/>
                <a:gd name="connsiteY4" fmla="*/ 0 h 17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82" h="17470">
                  <a:moveTo>
                    <a:pt x="39838" y="0"/>
                  </a:moveTo>
                  <a:lnTo>
                    <a:pt x="0" y="6048"/>
                  </a:lnTo>
                  <a:lnTo>
                    <a:pt x="122" y="15394"/>
                  </a:lnTo>
                  <a:lnTo>
                    <a:pt x="40082" y="17471"/>
                  </a:lnTo>
                  <a:lnTo>
                    <a:pt x="39838" y="0"/>
                  </a:lnTo>
                  <a:close/>
                </a:path>
              </a:pathLst>
            </a:custGeom>
            <a:grpFill/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39" name="Grafik 5">
              <a:extLst>
                <a:ext uri="{FF2B5EF4-FFF2-40B4-BE49-F238E27FC236}">
                  <a16:creationId xmlns:a16="http://schemas.microsoft.com/office/drawing/2014/main" id="{4161F7CF-9600-1D41-8CA8-9D675622E94B}"/>
                </a:ext>
              </a:extLst>
            </p:cNvPr>
            <p:cNvGrpSpPr/>
            <p:nvPr/>
          </p:nvGrpSpPr>
          <p:grpSpPr>
            <a:xfrm>
              <a:off x="3483403" y="3599812"/>
              <a:ext cx="257817" cy="281172"/>
              <a:chOff x="-2572746" y="1034751"/>
              <a:chExt cx="98601" cy="107533"/>
            </a:xfrm>
            <a:grpFill/>
          </p:grpSpPr>
          <p:sp>
            <p:nvSpPr>
              <p:cNvPr id="572" name="Freihandform 571">
                <a:extLst>
                  <a:ext uri="{FF2B5EF4-FFF2-40B4-BE49-F238E27FC236}">
                    <a16:creationId xmlns:a16="http://schemas.microsoft.com/office/drawing/2014/main" id="{958197AE-D382-D441-BB64-F3A25AE278AB}"/>
                  </a:ext>
                </a:extLst>
              </p:cNvPr>
              <p:cNvSpPr/>
              <p:nvPr/>
            </p:nvSpPr>
            <p:spPr>
              <a:xfrm>
                <a:off x="-2510150" y="1076512"/>
                <a:ext cx="36005" cy="65772"/>
              </a:xfrm>
              <a:custGeom>
                <a:avLst/>
                <a:gdLst>
                  <a:gd name="connsiteX0" fmla="*/ 35583 w 36005"/>
                  <a:gd name="connsiteY0" fmla="*/ 53351 h 65772"/>
                  <a:gd name="connsiteX1" fmla="*/ 17253 w 36005"/>
                  <a:gd name="connsiteY1" fmla="*/ 450 h 65772"/>
                  <a:gd name="connsiteX2" fmla="*/ 9126 w 36005"/>
                  <a:gd name="connsiteY2" fmla="*/ 999 h 65772"/>
                  <a:gd name="connsiteX3" fmla="*/ 878 w 36005"/>
                  <a:gd name="connsiteY3" fmla="*/ 24151 h 65772"/>
                  <a:gd name="connsiteX4" fmla="*/ 3016 w 36005"/>
                  <a:gd name="connsiteY4" fmla="*/ 52740 h 65772"/>
                  <a:gd name="connsiteX5" fmla="*/ 14393 w 36005"/>
                  <a:gd name="connsiteY5" fmla="*/ 65745 h 65772"/>
                  <a:gd name="connsiteX6" fmla="*/ 17070 w 36005"/>
                  <a:gd name="connsiteY6" fmla="*/ 65629 h 65772"/>
                  <a:gd name="connsiteX7" fmla="*/ 24952 w 36005"/>
                  <a:gd name="connsiteY7" fmla="*/ 64529 h 65772"/>
                  <a:gd name="connsiteX8" fmla="*/ 35583 w 36005"/>
                  <a:gd name="connsiteY8" fmla="*/ 53167 h 65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005" h="65772">
                    <a:moveTo>
                      <a:pt x="35583" y="53351"/>
                    </a:moveTo>
                    <a:cubicBezTo>
                      <a:pt x="36683" y="36857"/>
                      <a:pt x="37111" y="5642"/>
                      <a:pt x="17253" y="450"/>
                    </a:cubicBezTo>
                    <a:cubicBezTo>
                      <a:pt x="14558" y="-302"/>
                      <a:pt x="11693" y="-106"/>
                      <a:pt x="9126" y="999"/>
                    </a:cubicBezTo>
                    <a:cubicBezTo>
                      <a:pt x="4299" y="3259"/>
                      <a:pt x="-2422" y="9124"/>
                      <a:pt x="878" y="24151"/>
                    </a:cubicBezTo>
                    <a:cubicBezTo>
                      <a:pt x="2864" y="33540"/>
                      <a:pt x="3585" y="43155"/>
                      <a:pt x="3016" y="52740"/>
                    </a:cubicBezTo>
                    <a:cubicBezTo>
                      <a:pt x="2564" y="59471"/>
                      <a:pt x="7660" y="65293"/>
                      <a:pt x="14393" y="65745"/>
                    </a:cubicBezTo>
                    <a:cubicBezTo>
                      <a:pt x="15285" y="65806"/>
                      <a:pt x="16184" y="65763"/>
                      <a:pt x="17070" y="65629"/>
                    </a:cubicBezTo>
                    <a:lnTo>
                      <a:pt x="24952" y="64529"/>
                    </a:lnTo>
                    <a:cubicBezTo>
                      <a:pt x="30762" y="63778"/>
                      <a:pt x="35223" y="59013"/>
                      <a:pt x="35583" y="53167"/>
                    </a:cubicBezTo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3" name="Freihandform 572">
                <a:extLst>
                  <a:ext uri="{FF2B5EF4-FFF2-40B4-BE49-F238E27FC236}">
                    <a16:creationId xmlns:a16="http://schemas.microsoft.com/office/drawing/2014/main" id="{662E592F-54D4-3348-8527-F6CF2284D9A4}"/>
                  </a:ext>
                </a:extLst>
              </p:cNvPr>
              <p:cNvSpPr/>
              <p:nvPr/>
            </p:nvSpPr>
            <p:spPr>
              <a:xfrm>
                <a:off x="-2536035" y="1034751"/>
                <a:ext cx="38245" cy="38242"/>
              </a:xfrm>
              <a:custGeom>
                <a:avLst/>
                <a:gdLst>
                  <a:gd name="connsiteX0" fmla="*/ 0 w 38245"/>
                  <a:gd name="connsiteY0" fmla="*/ 19426 h 38242"/>
                  <a:gd name="connsiteX1" fmla="*/ 19430 w 38245"/>
                  <a:gd name="connsiteY1" fmla="*/ 38240 h 38242"/>
                  <a:gd name="connsiteX2" fmla="*/ 38243 w 38245"/>
                  <a:gd name="connsiteY2" fmla="*/ 18815 h 38242"/>
                  <a:gd name="connsiteX3" fmla="*/ 19125 w 38245"/>
                  <a:gd name="connsiteY3" fmla="*/ 0 h 38242"/>
                  <a:gd name="connsiteX4" fmla="*/ 0 w 38245"/>
                  <a:gd name="connsiteY4" fmla="*/ 19120 h 38242"/>
                  <a:gd name="connsiteX5" fmla="*/ 0 w 38245"/>
                  <a:gd name="connsiteY5" fmla="*/ 19181 h 38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8245" h="38242">
                    <a:moveTo>
                      <a:pt x="0" y="19426"/>
                    </a:moveTo>
                    <a:cubicBezTo>
                      <a:pt x="171" y="29981"/>
                      <a:pt x="8866" y="38405"/>
                      <a:pt x="19430" y="38240"/>
                    </a:cubicBezTo>
                    <a:cubicBezTo>
                      <a:pt x="29988" y="38069"/>
                      <a:pt x="38414" y="29370"/>
                      <a:pt x="38243" y="18815"/>
                    </a:cubicBezTo>
                    <a:cubicBezTo>
                      <a:pt x="38078" y="8375"/>
                      <a:pt x="29567" y="0"/>
                      <a:pt x="19125" y="0"/>
                    </a:cubicBezTo>
                    <a:cubicBezTo>
                      <a:pt x="8560" y="0"/>
                      <a:pt x="0" y="8558"/>
                      <a:pt x="0" y="19120"/>
                    </a:cubicBezTo>
                    <a:cubicBezTo>
                      <a:pt x="0" y="19138"/>
                      <a:pt x="0" y="19163"/>
                      <a:pt x="0" y="19181"/>
                    </a:cubicBezTo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4" name="Freihandform 573">
                <a:extLst>
                  <a:ext uri="{FF2B5EF4-FFF2-40B4-BE49-F238E27FC236}">
                    <a16:creationId xmlns:a16="http://schemas.microsoft.com/office/drawing/2014/main" id="{9A670BD3-FCC4-C14A-B4C3-8515D9665887}"/>
                  </a:ext>
                </a:extLst>
              </p:cNvPr>
              <p:cNvSpPr/>
              <p:nvPr/>
            </p:nvSpPr>
            <p:spPr>
              <a:xfrm>
                <a:off x="-2549767" y="1040860"/>
                <a:ext cx="28579" cy="14762"/>
              </a:xfrm>
              <a:custGeom>
                <a:avLst/>
                <a:gdLst>
                  <a:gd name="connsiteX0" fmla="*/ 27908 w 28579"/>
                  <a:gd name="connsiteY0" fmla="*/ 0 h 14762"/>
                  <a:gd name="connsiteX1" fmla="*/ 2612 w 28579"/>
                  <a:gd name="connsiteY1" fmla="*/ 4215 h 14762"/>
                  <a:gd name="connsiteX2" fmla="*/ 4139 w 28579"/>
                  <a:gd name="connsiteY2" fmla="*/ 13806 h 14762"/>
                  <a:gd name="connsiteX3" fmla="*/ 28580 w 28579"/>
                  <a:gd name="connsiteY3" fmla="*/ 14539 h 14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579" h="14762">
                    <a:moveTo>
                      <a:pt x="27908" y="0"/>
                    </a:moveTo>
                    <a:cubicBezTo>
                      <a:pt x="27908" y="0"/>
                      <a:pt x="6828" y="5742"/>
                      <a:pt x="2612" y="4215"/>
                    </a:cubicBezTo>
                    <a:cubicBezTo>
                      <a:pt x="-1604" y="2688"/>
                      <a:pt x="-443" y="12278"/>
                      <a:pt x="4139" y="13806"/>
                    </a:cubicBezTo>
                    <a:cubicBezTo>
                      <a:pt x="12247" y="14752"/>
                      <a:pt x="20429" y="14997"/>
                      <a:pt x="28580" y="14539"/>
                    </a:cubicBezTo>
                    <a:close/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5" name="Freihandform 574">
                <a:extLst>
                  <a:ext uri="{FF2B5EF4-FFF2-40B4-BE49-F238E27FC236}">
                    <a16:creationId xmlns:a16="http://schemas.microsoft.com/office/drawing/2014/main" id="{3052CF57-D47E-FC43-B53B-22D7D5FAAAA6}"/>
                  </a:ext>
                </a:extLst>
              </p:cNvPr>
              <p:cNvSpPr/>
              <p:nvPr/>
            </p:nvSpPr>
            <p:spPr>
              <a:xfrm>
                <a:off x="-2558504" y="1086040"/>
                <a:ext cx="63357" cy="32311"/>
              </a:xfrm>
              <a:custGeom>
                <a:avLst/>
                <a:gdLst>
                  <a:gd name="connsiteX0" fmla="*/ 50759 w 63357"/>
                  <a:gd name="connsiteY0" fmla="*/ 24 h 32311"/>
                  <a:gd name="connsiteX1" fmla="*/ 11349 w 63357"/>
                  <a:gd name="connsiteY1" fmla="*/ 17617 h 32311"/>
                  <a:gd name="connsiteX2" fmla="*/ 1389 w 63357"/>
                  <a:gd name="connsiteY2" fmla="*/ 26352 h 32311"/>
                  <a:gd name="connsiteX3" fmla="*/ 4933 w 63357"/>
                  <a:gd name="connsiteY3" fmla="*/ 29529 h 32311"/>
                  <a:gd name="connsiteX4" fmla="*/ 51920 w 63357"/>
                  <a:gd name="connsiteY4" fmla="*/ 19877 h 32311"/>
                  <a:gd name="connsiteX5" fmla="*/ 50759 w 63357"/>
                  <a:gd name="connsiteY5" fmla="*/ 24 h 32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3357" h="32311">
                    <a:moveTo>
                      <a:pt x="50759" y="24"/>
                    </a:moveTo>
                    <a:cubicBezTo>
                      <a:pt x="50759" y="1551"/>
                      <a:pt x="30107" y="20305"/>
                      <a:pt x="11349" y="17617"/>
                    </a:cubicBezTo>
                    <a:cubicBezTo>
                      <a:pt x="-2582" y="15601"/>
                      <a:pt x="-566" y="22626"/>
                      <a:pt x="1389" y="26352"/>
                    </a:cubicBezTo>
                    <a:cubicBezTo>
                      <a:pt x="2159" y="27800"/>
                      <a:pt x="3412" y="28924"/>
                      <a:pt x="4933" y="29529"/>
                    </a:cubicBezTo>
                    <a:cubicBezTo>
                      <a:pt x="11043" y="32094"/>
                      <a:pt x="30412" y="37348"/>
                      <a:pt x="51920" y="19877"/>
                    </a:cubicBezTo>
                    <a:cubicBezTo>
                      <a:pt x="78315" y="-1503"/>
                      <a:pt x="50759" y="24"/>
                      <a:pt x="50759" y="24"/>
                    </a:cubicBezTo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6" name="Freihandform 575">
                <a:extLst>
                  <a:ext uri="{FF2B5EF4-FFF2-40B4-BE49-F238E27FC236}">
                    <a16:creationId xmlns:a16="http://schemas.microsoft.com/office/drawing/2014/main" id="{7A0F92DF-BADE-BA4D-AE6F-DFDD1EF7BB42}"/>
                  </a:ext>
                </a:extLst>
              </p:cNvPr>
              <p:cNvSpPr/>
              <p:nvPr/>
            </p:nvSpPr>
            <p:spPr>
              <a:xfrm>
                <a:off x="-2572746" y="1106205"/>
                <a:ext cx="25680" cy="23198"/>
              </a:xfrm>
              <a:custGeom>
                <a:avLst/>
                <a:gdLst>
                  <a:gd name="connsiteX0" fmla="*/ 10621 w 25680"/>
                  <a:gd name="connsiteY0" fmla="*/ 14067 h 23198"/>
                  <a:gd name="connsiteX1" fmla="*/ 25469 w 25680"/>
                  <a:gd name="connsiteY1" fmla="*/ 22925 h 23198"/>
                  <a:gd name="connsiteX2" fmla="*/ 15143 w 25680"/>
                  <a:gd name="connsiteY2" fmla="*/ 9119 h 23198"/>
                  <a:gd name="connsiteX3" fmla="*/ 295 w 25680"/>
                  <a:gd name="connsiteY3" fmla="*/ 261 h 23198"/>
                  <a:gd name="connsiteX4" fmla="*/ 6405 w 25680"/>
                  <a:gd name="connsiteY4" fmla="*/ 10341 h 23198"/>
                  <a:gd name="connsiteX5" fmla="*/ 10316 w 25680"/>
                  <a:gd name="connsiteY5" fmla="*/ 14067 h 23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5680" h="23198">
                    <a:moveTo>
                      <a:pt x="10621" y="14067"/>
                    </a:moveTo>
                    <a:cubicBezTo>
                      <a:pt x="17587" y="20176"/>
                      <a:pt x="24186" y="24330"/>
                      <a:pt x="25469" y="22925"/>
                    </a:cubicBezTo>
                    <a:cubicBezTo>
                      <a:pt x="26752" y="21520"/>
                      <a:pt x="22047" y="15350"/>
                      <a:pt x="15143" y="9119"/>
                    </a:cubicBezTo>
                    <a:cubicBezTo>
                      <a:pt x="8238" y="2888"/>
                      <a:pt x="1579" y="-1082"/>
                      <a:pt x="295" y="261"/>
                    </a:cubicBezTo>
                    <a:cubicBezTo>
                      <a:pt x="-988" y="1605"/>
                      <a:pt x="2067" y="5515"/>
                      <a:pt x="6405" y="10341"/>
                    </a:cubicBezTo>
                    <a:cubicBezTo>
                      <a:pt x="7627" y="11562"/>
                      <a:pt x="8911" y="12845"/>
                      <a:pt x="10316" y="14067"/>
                    </a:cubicBezTo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540" name="Freihandform 539">
              <a:extLst>
                <a:ext uri="{FF2B5EF4-FFF2-40B4-BE49-F238E27FC236}">
                  <a16:creationId xmlns:a16="http://schemas.microsoft.com/office/drawing/2014/main" id="{1CA835D0-1DE4-4643-BFFB-E6E5FA9C63A5}"/>
                </a:ext>
              </a:extLst>
            </p:cNvPr>
            <p:cNvSpPr/>
            <p:nvPr/>
          </p:nvSpPr>
          <p:spPr>
            <a:xfrm>
              <a:off x="3460210" y="3813366"/>
              <a:ext cx="64064" cy="60375"/>
            </a:xfrm>
            <a:custGeom>
              <a:avLst/>
              <a:gdLst>
                <a:gd name="connsiteX0" fmla="*/ 24502 w 24501"/>
                <a:gd name="connsiteY0" fmla="*/ 5864 h 23090"/>
                <a:gd name="connsiteX1" fmla="*/ 6904 w 24501"/>
                <a:gd name="connsiteY1" fmla="*/ 23091 h 23090"/>
                <a:gd name="connsiteX2" fmla="*/ 0 w 24501"/>
                <a:gd name="connsiteY2" fmla="*/ 13134 h 23090"/>
                <a:gd name="connsiteX3" fmla="*/ 15825 w 24501"/>
                <a:gd name="connsiteY3" fmla="*/ 0 h 23090"/>
                <a:gd name="connsiteX4" fmla="*/ 24502 w 24501"/>
                <a:gd name="connsiteY4" fmla="*/ 5864 h 23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01" h="23090">
                  <a:moveTo>
                    <a:pt x="24502" y="5864"/>
                  </a:moveTo>
                  <a:lnTo>
                    <a:pt x="6904" y="23091"/>
                  </a:lnTo>
                  <a:lnTo>
                    <a:pt x="0" y="13134"/>
                  </a:lnTo>
                  <a:lnTo>
                    <a:pt x="15825" y="0"/>
                  </a:lnTo>
                  <a:lnTo>
                    <a:pt x="24502" y="5864"/>
                  </a:lnTo>
                  <a:close/>
                </a:path>
              </a:pathLst>
            </a:custGeom>
            <a:grpFill/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41" name="Grafik 5">
              <a:extLst>
                <a:ext uri="{FF2B5EF4-FFF2-40B4-BE49-F238E27FC236}">
                  <a16:creationId xmlns:a16="http://schemas.microsoft.com/office/drawing/2014/main" id="{FE2F2188-C9D8-8A4F-90E6-87812A9E7CBF}"/>
                </a:ext>
              </a:extLst>
            </p:cNvPr>
            <p:cNvGrpSpPr/>
            <p:nvPr/>
          </p:nvGrpSpPr>
          <p:grpSpPr>
            <a:xfrm>
              <a:off x="3303482" y="3545503"/>
              <a:ext cx="607101" cy="709984"/>
              <a:chOff x="-2641556" y="1013981"/>
              <a:chExt cx="232183" cy="271530"/>
            </a:xfrm>
            <a:grpFill/>
          </p:grpSpPr>
          <p:sp>
            <p:nvSpPr>
              <p:cNvPr id="569" name="Freihandform 568">
                <a:extLst>
                  <a:ext uri="{FF2B5EF4-FFF2-40B4-BE49-F238E27FC236}">
                    <a16:creationId xmlns:a16="http://schemas.microsoft.com/office/drawing/2014/main" id="{607F2ACD-889C-3C4B-A9D0-191DBE3EFE04}"/>
                  </a:ext>
                </a:extLst>
              </p:cNvPr>
              <p:cNvSpPr/>
              <p:nvPr/>
            </p:nvSpPr>
            <p:spPr>
              <a:xfrm>
                <a:off x="-2641556" y="1013981"/>
                <a:ext cx="232183" cy="224982"/>
              </a:xfrm>
              <a:custGeom>
                <a:avLst/>
                <a:gdLst>
                  <a:gd name="connsiteX0" fmla="*/ 70694 w 232183"/>
                  <a:gd name="connsiteY0" fmla="*/ 112399 h 224982"/>
                  <a:gd name="connsiteX1" fmla="*/ 70694 w 232183"/>
                  <a:gd name="connsiteY1" fmla="*/ 149907 h 224982"/>
                  <a:gd name="connsiteX2" fmla="*/ 90979 w 232183"/>
                  <a:gd name="connsiteY2" fmla="*/ 120096 h 224982"/>
                  <a:gd name="connsiteX3" fmla="*/ 175543 w 232183"/>
                  <a:gd name="connsiteY3" fmla="*/ 120096 h 224982"/>
                  <a:gd name="connsiteX4" fmla="*/ 174382 w 232183"/>
                  <a:gd name="connsiteY4" fmla="*/ 13683 h 224982"/>
                  <a:gd name="connsiteX5" fmla="*/ 93240 w 232183"/>
                  <a:gd name="connsiteY5" fmla="*/ 13683 h 224982"/>
                  <a:gd name="connsiteX6" fmla="*/ 55724 w 232183"/>
                  <a:gd name="connsiteY6" fmla="*/ 112399 h 224982"/>
                  <a:gd name="connsiteX7" fmla="*/ 8310 w 232183"/>
                  <a:gd name="connsiteY7" fmla="*/ 155160 h 224982"/>
                  <a:gd name="connsiteX8" fmla="*/ 8310 w 232183"/>
                  <a:gd name="connsiteY8" fmla="*/ 2443 h 224982"/>
                  <a:gd name="connsiteX9" fmla="*/ 17841 w 232183"/>
                  <a:gd name="connsiteY9" fmla="*/ 2443 h 224982"/>
                  <a:gd name="connsiteX10" fmla="*/ 17841 w 232183"/>
                  <a:gd name="connsiteY10" fmla="*/ 157420 h 224982"/>
                  <a:gd name="connsiteX11" fmla="*/ 22424 w 232183"/>
                  <a:gd name="connsiteY11" fmla="*/ 157420 h 224982"/>
                  <a:gd name="connsiteX12" fmla="*/ 22424 w 232183"/>
                  <a:gd name="connsiteY12" fmla="*/ 191079 h 224982"/>
                  <a:gd name="connsiteX13" fmla="*/ 32261 w 232183"/>
                  <a:gd name="connsiteY13" fmla="*/ 191079 h 224982"/>
                  <a:gd name="connsiteX14" fmla="*/ 32261 w 232183"/>
                  <a:gd name="connsiteY14" fmla="*/ 191079 h 224982"/>
                  <a:gd name="connsiteX15" fmla="*/ 32261 w 232183"/>
                  <a:gd name="connsiteY15" fmla="*/ 191079 h 224982"/>
                  <a:gd name="connsiteX16" fmla="*/ 32261 w 232183"/>
                  <a:gd name="connsiteY16" fmla="*/ 133169 h 224982"/>
                  <a:gd name="connsiteX17" fmla="*/ 83158 w 232183"/>
                  <a:gd name="connsiteY17" fmla="*/ 0 h 224982"/>
                  <a:gd name="connsiteX18" fmla="*/ 185747 w 232183"/>
                  <a:gd name="connsiteY18" fmla="*/ 0 h 224982"/>
                  <a:gd name="connsiteX19" fmla="*/ 185747 w 232183"/>
                  <a:gd name="connsiteY19" fmla="*/ 138484 h 224982"/>
                  <a:gd name="connsiteX20" fmla="*/ 219474 w 232183"/>
                  <a:gd name="connsiteY20" fmla="*/ 138484 h 224982"/>
                  <a:gd name="connsiteX21" fmla="*/ 219474 w 232183"/>
                  <a:gd name="connsiteY21" fmla="*/ 165301 h 224982"/>
                  <a:gd name="connsiteX22" fmla="*/ 232183 w 232183"/>
                  <a:gd name="connsiteY22" fmla="*/ 165301 h 224982"/>
                  <a:gd name="connsiteX23" fmla="*/ 232183 w 232183"/>
                  <a:gd name="connsiteY23" fmla="*/ 224982 h 224982"/>
                  <a:gd name="connsiteX24" fmla="*/ 217214 w 232183"/>
                  <a:gd name="connsiteY24" fmla="*/ 224982 h 224982"/>
                  <a:gd name="connsiteX25" fmla="*/ 170337 w 232183"/>
                  <a:gd name="connsiteY25" fmla="*/ 214854 h 224982"/>
                  <a:gd name="connsiteX26" fmla="*/ 160206 w 232183"/>
                  <a:gd name="connsiteY26" fmla="*/ 224982 h 224982"/>
                  <a:gd name="connsiteX27" fmla="*/ 84991 w 232183"/>
                  <a:gd name="connsiteY27" fmla="*/ 224982 h 224982"/>
                  <a:gd name="connsiteX28" fmla="*/ 38212 w 232183"/>
                  <a:gd name="connsiteY28" fmla="*/ 214817 h 224982"/>
                  <a:gd name="connsiteX29" fmla="*/ 28045 w 232183"/>
                  <a:gd name="connsiteY29" fmla="*/ 224982 h 224982"/>
                  <a:gd name="connsiteX30" fmla="*/ 9409 w 232183"/>
                  <a:gd name="connsiteY30" fmla="*/ 224982 h 224982"/>
                  <a:gd name="connsiteX31" fmla="*/ 0 w 232183"/>
                  <a:gd name="connsiteY31" fmla="*/ 216247 h 224982"/>
                  <a:gd name="connsiteX32" fmla="*/ 0 w 232183"/>
                  <a:gd name="connsiteY32" fmla="*/ 156565 h 224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232183" h="224982">
                    <a:moveTo>
                      <a:pt x="70694" y="112399"/>
                    </a:moveTo>
                    <a:lnTo>
                      <a:pt x="70694" y="149907"/>
                    </a:lnTo>
                    <a:lnTo>
                      <a:pt x="90979" y="120096"/>
                    </a:lnTo>
                    <a:lnTo>
                      <a:pt x="175543" y="120096"/>
                    </a:lnTo>
                    <a:lnTo>
                      <a:pt x="174382" y="13683"/>
                    </a:lnTo>
                    <a:lnTo>
                      <a:pt x="93240" y="13683"/>
                    </a:lnTo>
                    <a:lnTo>
                      <a:pt x="55724" y="112399"/>
                    </a:lnTo>
                    <a:close/>
                    <a:moveTo>
                      <a:pt x="8310" y="155160"/>
                    </a:moveTo>
                    <a:lnTo>
                      <a:pt x="8310" y="2443"/>
                    </a:lnTo>
                    <a:lnTo>
                      <a:pt x="17841" y="2443"/>
                    </a:lnTo>
                    <a:lnTo>
                      <a:pt x="17841" y="157420"/>
                    </a:lnTo>
                    <a:lnTo>
                      <a:pt x="22424" y="157420"/>
                    </a:lnTo>
                    <a:lnTo>
                      <a:pt x="22424" y="191079"/>
                    </a:lnTo>
                    <a:cubicBezTo>
                      <a:pt x="25699" y="190817"/>
                      <a:pt x="28986" y="190817"/>
                      <a:pt x="32261" y="191079"/>
                    </a:cubicBezTo>
                    <a:cubicBezTo>
                      <a:pt x="32261" y="191079"/>
                      <a:pt x="32261" y="191385"/>
                      <a:pt x="32261" y="191079"/>
                    </a:cubicBezTo>
                    <a:cubicBezTo>
                      <a:pt x="32261" y="190774"/>
                      <a:pt x="32261" y="191079"/>
                      <a:pt x="32261" y="191079"/>
                    </a:cubicBezTo>
                    <a:cubicBezTo>
                      <a:pt x="31528" y="187170"/>
                      <a:pt x="32261" y="133169"/>
                      <a:pt x="32261" y="133169"/>
                    </a:cubicBezTo>
                    <a:lnTo>
                      <a:pt x="83158" y="0"/>
                    </a:lnTo>
                    <a:lnTo>
                      <a:pt x="185747" y="0"/>
                    </a:lnTo>
                    <a:lnTo>
                      <a:pt x="185747" y="138484"/>
                    </a:lnTo>
                    <a:lnTo>
                      <a:pt x="219474" y="138484"/>
                    </a:lnTo>
                    <a:lnTo>
                      <a:pt x="219474" y="165301"/>
                    </a:lnTo>
                    <a:lnTo>
                      <a:pt x="232183" y="165301"/>
                    </a:lnTo>
                    <a:lnTo>
                      <a:pt x="232183" y="224982"/>
                    </a:lnTo>
                    <a:lnTo>
                      <a:pt x="217214" y="224982"/>
                    </a:lnTo>
                    <a:cubicBezTo>
                      <a:pt x="207065" y="209246"/>
                      <a:pt x="186083" y="204708"/>
                      <a:pt x="170337" y="214854"/>
                    </a:cubicBezTo>
                    <a:cubicBezTo>
                      <a:pt x="166280" y="217469"/>
                      <a:pt x="162822" y="220920"/>
                      <a:pt x="160206" y="224982"/>
                    </a:cubicBezTo>
                    <a:lnTo>
                      <a:pt x="84991" y="224982"/>
                    </a:lnTo>
                    <a:cubicBezTo>
                      <a:pt x="74879" y="209259"/>
                      <a:pt x="53940" y="204708"/>
                      <a:pt x="38212" y="214817"/>
                    </a:cubicBezTo>
                    <a:cubicBezTo>
                      <a:pt x="34137" y="217438"/>
                      <a:pt x="30667" y="220908"/>
                      <a:pt x="28045" y="224982"/>
                    </a:cubicBezTo>
                    <a:lnTo>
                      <a:pt x="9409" y="224982"/>
                    </a:lnTo>
                    <a:lnTo>
                      <a:pt x="0" y="216247"/>
                    </a:lnTo>
                    <a:lnTo>
                      <a:pt x="0" y="156565"/>
                    </a:lnTo>
                    <a:close/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0" name="Freihandform 569">
                <a:extLst>
                  <a:ext uri="{FF2B5EF4-FFF2-40B4-BE49-F238E27FC236}">
                    <a16:creationId xmlns:a16="http://schemas.microsoft.com/office/drawing/2014/main" id="{67430E23-BEB5-6E46-9C2A-BAACBCB3053E}"/>
                  </a:ext>
                </a:extLst>
              </p:cNvPr>
              <p:cNvSpPr/>
              <p:nvPr/>
            </p:nvSpPr>
            <p:spPr>
              <a:xfrm>
                <a:off x="-2613205" y="1229190"/>
                <a:ext cx="56334" cy="56321"/>
              </a:xfrm>
              <a:custGeom>
                <a:avLst/>
                <a:gdLst>
                  <a:gd name="connsiteX0" fmla="*/ 28167 w 56334"/>
                  <a:gd name="connsiteY0" fmla="*/ 39279 h 56321"/>
                  <a:gd name="connsiteX1" fmla="*/ 39288 w 56334"/>
                  <a:gd name="connsiteY1" fmla="*/ 28161 h 56321"/>
                  <a:gd name="connsiteX2" fmla="*/ 28167 w 56334"/>
                  <a:gd name="connsiteY2" fmla="*/ 17043 h 56321"/>
                  <a:gd name="connsiteX3" fmla="*/ 17047 w 56334"/>
                  <a:gd name="connsiteY3" fmla="*/ 28161 h 56321"/>
                  <a:gd name="connsiteX4" fmla="*/ 28167 w 56334"/>
                  <a:gd name="connsiteY4" fmla="*/ 39279 h 56321"/>
                  <a:gd name="connsiteX5" fmla="*/ 28167 w 56334"/>
                  <a:gd name="connsiteY5" fmla="*/ 0 h 56321"/>
                  <a:gd name="connsiteX6" fmla="*/ 56335 w 56334"/>
                  <a:gd name="connsiteY6" fmla="*/ 28161 h 56321"/>
                  <a:gd name="connsiteX7" fmla="*/ 28167 w 56334"/>
                  <a:gd name="connsiteY7" fmla="*/ 56322 h 56321"/>
                  <a:gd name="connsiteX8" fmla="*/ 0 w 56334"/>
                  <a:gd name="connsiteY8" fmla="*/ 28161 h 56321"/>
                  <a:gd name="connsiteX9" fmla="*/ 28167 w 56334"/>
                  <a:gd name="connsiteY9" fmla="*/ 0 h 56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6334" h="56321">
                    <a:moveTo>
                      <a:pt x="28167" y="39279"/>
                    </a:moveTo>
                    <a:cubicBezTo>
                      <a:pt x="34308" y="39279"/>
                      <a:pt x="39288" y="34300"/>
                      <a:pt x="39288" y="28161"/>
                    </a:cubicBezTo>
                    <a:cubicBezTo>
                      <a:pt x="39288" y="22022"/>
                      <a:pt x="34308" y="17043"/>
                      <a:pt x="28167" y="17043"/>
                    </a:cubicBezTo>
                    <a:cubicBezTo>
                      <a:pt x="22027" y="17043"/>
                      <a:pt x="17047" y="22022"/>
                      <a:pt x="17047" y="28161"/>
                    </a:cubicBezTo>
                    <a:cubicBezTo>
                      <a:pt x="17078" y="34288"/>
                      <a:pt x="22039" y="39248"/>
                      <a:pt x="28167" y="39279"/>
                    </a:cubicBezTo>
                    <a:moveTo>
                      <a:pt x="28167" y="0"/>
                    </a:moveTo>
                    <a:cubicBezTo>
                      <a:pt x="43724" y="0"/>
                      <a:pt x="56335" y="12608"/>
                      <a:pt x="56335" y="28161"/>
                    </a:cubicBezTo>
                    <a:cubicBezTo>
                      <a:pt x="56335" y="43714"/>
                      <a:pt x="43724" y="56322"/>
                      <a:pt x="28167" y="56322"/>
                    </a:cubicBezTo>
                    <a:cubicBezTo>
                      <a:pt x="12611" y="56322"/>
                      <a:pt x="0" y="43714"/>
                      <a:pt x="0" y="28161"/>
                    </a:cubicBezTo>
                    <a:cubicBezTo>
                      <a:pt x="0" y="12608"/>
                      <a:pt x="12611" y="0"/>
                      <a:pt x="28167" y="0"/>
                    </a:cubicBezTo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1" name="Freihandform 570">
                <a:extLst>
                  <a:ext uri="{FF2B5EF4-FFF2-40B4-BE49-F238E27FC236}">
                    <a16:creationId xmlns:a16="http://schemas.microsoft.com/office/drawing/2014/main" id="{496B7BAB-F009-364B-BC2F-928B14528423}"/>
                  </a:ext>
                </a:extLst>
              </p:cNvPr>
              <p:cNvSpPr/>
              <p:nvPr/>
            </p:nvSpPr>
            <p:spPr>
              <a:xfrm>
                <a:off x="-2480983" y="1229190"/>
                <a:ext cx="56335" cy="56322"/>
              </a:xfrm>
              <a:custGeom>
                <a:avLst/>
                <a:gdLst>
                  <a:gd name="connsiteX0" fmla="*/ 28107 w 56335"/>
                  <a:gd name="connsiteY0" fmla="*/ 39279 h 56322"/>
                  <a:gd name="connsiteX1" fmla="*/ 39288 w 56335"/>
                  <a:gd name="connsiteY1" fmla="*/ 28222 h 56322"/>
                  <a:gd name="connsiteX2" fmla="*/ 28229 w 56335"/>
                  <a:gd name="connsiteY2" fmla="*/ 17043 h 56322"/>
                  <a:gd name="connsiteX3" fmla="*/ 17047 w 56335"/>
                  <a:gd name="connsiteY3" fmla="*/ 28100 h 56322"/>
                  <a:gd name="connsiteX4" fmla="*/ 17047 w 56335"/>
                  <a:gd name="connsiteY4" fmla="*/ 28161 h 56322"/>
                  <a:gd name="connsiteX5" fmla="*/ 28107 w 56335"/>
                  <a:gd name="connsiteY5" fmla="*/ 39279 h 56322"/>
                  <a:gd name="connsiteX6" fmla="*/ 28107 w 56335"/>
                  <a:gd name="connsiteY6" fmla="*/ 0 h 56322"/>
                  <a:gd name="connsiteX7" fmla="*/ 56335 w 56335"/>
                  <a:gd name="connsiteY7" fmla="*/ 28100 h 56322"/>
                  <a:gd name="connsiteX8" fmla="*/ 28229 w 56335"/>
                  <a:gd name="connsiteY8" fmla="*/ 56322 h 56322"/>
                  <a:gd name="connsiteX9" fmla="*/ 0 w 56335"/>
                  <a:gd name="connsiteY9" fmla="*/ 28222 h 56322"/>
                  <a:gd name="connsiteX10" fmla="*/ 0 w 56335"/>
                  <a:gd name="connsiteY10" fmla="*/ 28161 h 56322"/>
                  <a:gd name="connsiteX11" fmla="*/ 28045 w 56335"/>
                  <a:gd name="connsiteY11" fmla="*/ 0 h 56322"/>
                  <a:gd name="connsiteX12" fmla="*/ 28107 w 56335"/>
                  <a:gd name="connsiteY12" fmla="*/ 0 h 56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6335" h="56322">
                    <a:moveTo>
                      <a:pt x="28107" y="39279"/>
                    </a:moveTo>
                    <a:cubicBezTo>
                      <a:pt x="34247" y="39316"/>
                      <a:pt x="39251" y="34361"/>
                      <a:pt x="39288" y="28222"/>
                    </a:cubicBezTo>
                    <a:cubicBezTo>
                      <a:pt x="39318" y="22083"/>
                      <a:pt x="34369" y="17080"/>
                      <a:pt x="28229" y="17043"/>
                    </a:cubicBezTo>
                    <a:cubicBezTo>
                      <a:pt x="22088" y="17013"/>
                      <a:pt x="17084" y="21961"/>
                      <a:pt x="17047" y="28100"/>
                    </a:cubicBezTo>
                    <a:cubicBezTo>
                      <a:pt x="17047" y="28118"/>
                      <a:pt x="17047" y="28143"/>
                      <a:pt x="17047" y="28161"/>
                    </a:cubicBezTo>
                    <a:cubicBezTo>
                      <a:pt x="17047" y="34276"/>
                      <a:pt x="21990" y="39248"/>
                      <a:pt x="28107" y="39279"/>
                    </a:cubicBezTo>
                    <a:moveTo>
                      <a:pt x="28107" y="0"/>
                    </a:moveTo>
                    <a:cubicBezTo>
                      <a:pt x="43663" y="-37"/>
                      <a:pt x="56298" y="12547"/>
                      <a:pt x="56335" y="28100"/>
                    </a:cubicBezTo>
                    <a:cubicBezTo>
                      <a:pt x="56372" y="43653"/>
                      <a:pt x="43785" y="56285"/>
                      <a:pt x="28229" y="56322"/>
                    </a:cubicBezTo>
                    <a:cubicBezTo>
                      <a:pt x="12672" y="56359"/>
                      <a:pt x="37" y="43775"/>
                      <a:pt x="0" y="28222"/>
                    </a:cubicBezTo>
                    <a:cubicBezTo>
                      <a:pt x="0" y="28204"/>
                      <a:pt x="0" y="28179"/>
                      <a:pt x="0" y="28161"/>
                    </a:cubicBezTo>
                    <a:cubicBezTo>
                      <a:pt x="-37" y="12645"/>
                      <a:pt x="12520" y="37"/>
                      <a:pt x="28045" y="0"/>
                    </a:cubicBezTo>
                    <a:cubicBezTo>
                      <a:pt x="28064" y="0"/>
                      <a:pt x="28088" y="0"/>
                      <a:pt x="28107" y="0"/>
                    </a:cubicBezTo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542" name="Freihandform 541">
              <a:extLst>
                <a:ext uri="{FF2B5EF4-FFF2-40B4-BE49-F238E27FC236}">
                  <a16:creationId xmlns:a16="http://schemas.microsoft.com/office/drawing/2014/main" id="{3DEEAE0A-213C-8749-84EF-8B6F8E06C051}"/>
                </a:ext>
              </a:extLst>
            </p:cNvPr>
            <p:cNvSpPr/>
            <p:nvPr/>
          </p:nvSpPr>
          <p:spPr>
            <a:xfrm>
              <a:off x="321653" y="3648846"/>
              <a:ext cx="543516" cy="255720"/>
            </a:xfrm>
            <a:custGeom>
              <a:avLst/>
              <a:gdLst>
                <a:gd name="connsiteX0" fmla="*/ 0 w 207865"/>
                <a:gd name="connsiteY0" fmla="*/ 0 h 97799"/>
                <a:gd name="connsiteX1" fmla="*/ 207865 w 207865"/>
                <a:gd name="connsiteY1" fmla="*/ 0 h 97799"/>
                <a:gd name="connsiteX2" fmla="*/ 207865 w 207865"/>
                <a:gd name="connsiteY2" fmla="*/ 97800 h 97799"/>
                <a:gd name="connsiteX3" fmla="*/ 0 w 207865"/>
                <a:gd name="connsiteY3" fmla="*/ 97800 h 97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65" h="97799">
                  <a:moveTo>
                    <a:pt x="0" y="0"/>
                  </a:moveTo>
                  <a:lnTo>
                    <a:pt x="207865" y="0"/>
                  </a:lnTo>
                  <a:lnTo>
                    <a:pt x="207865" y="97800"/>
                  </a:lnTo>
                  <a:lnTo>
                    <a:pt x="0" y="97800"/>
                  </a:lnTo>
                  <a:close/>
                </a:path>
              </a:pathLst>
            </a:custGeom>
            <a:grpFill/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3" name="Freihandform 542">
              <a:extLst>
                <a:ext uri="{FF2B5EF4-FFF2-40B4-BE49-F238E27FC236}">
                  <a16:creationId xmlns:a16="http://schemas.microsoft.com/office/drawing/2014/main" id="{CB6F5491-8FC5-5E4C-80EB-DA5776D3EF33}"/>
                </a:ext>
              </a:extLst>
            </p:cNvPr>
            <p:cNvSpPr/>
            <p:nvPr/>
          </p:nvSpPr>
          <p:spPr>
            <a:xfrm>
              <a:off x="321653" y="3339296"/>
              <a:ext cx="543516" cy="255720"/>
            </a:xfrm>
            <a:custGeom>
              <a:avLst/>
              <a:gdLst>
                <a:gd name="connsiteX0" fmla="*/ 0 w 207865"/>
                <a:gd name="connsiteY0" fmla="*/ 0 h 97799"/>
                <a:gd name="connsiteX1" fmla="*/ 207865 w 207865"/>
                <a:gd name="connsiteY1" fmla="*/ 0 h 97799"/>
                <a:gd name="connsiteX2" fmla="*/ 207865 w 207865"/>
                <a:gd name="connsiteY2" fmla="*/ 97800 h 97799"/>
                <a:gd name="connsiteX3" fmla="*/ 0 w 207865"/>
                <a:gd name="connsiteY3" fmla="*/ 97800 h 97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65" h="97799">
                  <a:moveTo>
                    <a:pt x="0" y="0"/>
                  </a:moveTo>
                  <a:lnTo>
                    <a:pt x="207865" y="0"/>
                  </a:lnTo>
                  <a:lnTo>
                    <a:pt x="207865" y="97800"/>
                  </a:lnTo>
                  <a:lnTo>
                    <a:pt x="0" y="97800"/>
                  </a:lnTo>
                  <a:close/>
                </a:path>
              </a:pathLst>
            </a:custGeom>
            <a:grpFill/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4" name="Freihandform 543">
              <a:extLst>
                <a:ext uri="{FF2B5EF4-FFF2-40B4-BE49-F238E27FC236}">
                  <a16:creationId xmlns:a16="http://schemas.microsoft.com/office/drawing/2014/main" id="{90C0468D-3702-0B41-A455-2B3317E788C5}"/>
                </a:ext>
              </a:extLst>
            </p:cNvPr>
            <p:cNvSpPr/>
            <p:nvPr/>
          </p:nvSpPr>
          <p:spPr>
            <a:xfrm>
              <a:off x="321653" y="3029746"/>
              <a:ext cx="543516" cy="255720"/>
            </a:xfrm>
            <a:custGeom>
              <a:avLst/>
              <a:gdLst>
                <a:gd name="connsiteX0" fmla="*/ 0 w 207865"/>
                <a:gd name="connsiteY0" fmla="*/ 0 h 97799"/>
                <a:gd name="connsiteX1" fmla="*/ 207865 w 207865"/>
                <a:gd name="connsiteY1" fmla="*/ 0 h 97799"/>
                <a:gd name="connsiteX2" fmla="*/ 207865 w 207865"/>
                <a:gd name="connsiteY2" fmla="*/ 97800 h 97799"/>
                <a:gd name="connsiteX3" fmla="*/ 0 w 207865"/>
                <a:gd name="connsiteY3" fmla="*/ 97800 h 97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65" h="97799">
                  <a:moveTo>
                    <a:pt x="0" y="0"/>
                  </a:moveTo>
                  <a:lnTo>
                    <a:pt x="207865" y="0"/>
                  </a:lnTo>
                  <a:lnTo>
                    <a:pt x="207865" y="97800"/>
                  </a:lnTo>
                  <a:lnTo>
                    <a:pt x="0" y="97800"/>
                  </a:lnTo>
                  <a:close/>
                </a:path>
              </a:pathLst>
            </a:custGeom>
            <a:grpFill/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5" name="Freihandform 544">
              <a:extLst>
                <a:ext uri="{FF2B5EF4-FFF2-40B4-BE49-F238E27FC236}">
                  <a16:creationId xmlns:a16="http://schemas.microsoft.com/office/drawing/2014/main" id="{A4BFDA5E-CC82-7748-9C82-6F64A45C6126}"/>
                </a:ext>
              </a:extLst>
            </p:cNvPr>
            <p:cNvSpPr/>
            <p:nvPr/>
          </p:nvSpPr>
          <p:spPr>
            <a:xfrm>
              <a:off x="2949766" y="3149381"/>
              <a:ext cx="76686" cy="33383"/>
            </a:xfrm>
            <a:custGeom>
              <a:avLst/>
              <a:gdLst>
                <a:gd name="connsiteX0" fmla="*/ 29145 w 29328"/>
                <a:gd name="connsiteY0" fmla="*/ 0 h 12767"/>
                <a:gd name="connsiteX1" fmla="*/ 0 w 29328"/>
                <a:gd name="connsiteY1" fmla="*/ 4459 h 12767"/>
                <a:gd name="connsiteX2" fmla="*/ 122 w 29328"/>
                <a:gd name="connsiteY2" fmla="*/ 11301 h 12767"/>
                <a:gd name="connsiteX3" fmla="*/ 29328 w 29328"/>
                <a:gd name="connsiteY3" fmla="*/ 12767 h 12767"/>
                <a:gd name="connsiteX4" fmla="*/ 29145 w 29328"/>
                <a:gd name="connsiteY4" fmla="*/ 0 h 12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328" h="12767">
                  <a:moveTo>
                    <a:pt x="29145" y="0"/>
                  </a:moveTo>
                  <a:lnTo>
                    <a:pt x="0" y="4459"/>
                  </a:lnTo>
                  <a:lnTo>
                    <a:pt x="122" y="11301"/>
                  </a:lnTo>
                  <a:lnTo>
                    <a:pt x="29328" y="12767"/>
                  </a:lnTo>
                  <a:lnTo>
                    <a:pt x="29145" y="0"/>
                  </a:lnTo>
                  <a:close/>
                </a:path>
              </a:pathLst>
            </a:custGeom>
            <a:grpFill/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46" name="Grafik 5">
              <a:extLst>
                <a:ext uri="{FF2B5EF4-FFF2-40B4-BE49-F238E27FC236}">
                  <a16:creationId xmlns:a16="http://schemas.microsoft.com/office/drawing/2014/main" id="{36894059-BF94-F846-BE6B-1FFC21F54082}"/>
                </a:ext>
              </a:extLst>
            </p:cNvPr>
            <p:cNvGrpSpPr/>
            <p:nvPr/>
          </p:nvGrpSpPr>
          <p:grpSpPr>
            <a:xfrm>
              <a:off x="3149884" y="2807886"/>
              <a:ext cx="188003" cy="205337"/>
              <a:chOff x="-2700299" y="731883"/>
              <a:chExt cx="71901" cy="78530"/>
            </a:xfrm>
            <a:grpFill/>
          </p:grpSpPr>
          <p:sp>
            <p:nvSpPr>
              <p:cNvPr id="564" name="Freihandform 563">
                <a:extLst>
                  <a:ext uri="{FF2B5EF4-FFF2-40B4-BE49-F238E27FC236}">
                    <a16:creationId xmlns:a16="http://schemas.microsoft.com/office/drawing/2014/main" id="{96688463-78EE-B240-B13E-3D9A0EF79E70}"/>
                  </a:ext>
                </a:extLst>
              </p:cNvPr>
              <p:cNvSpPr/>
              <p:nvPr/>
            </p:nvSpPr>
            <p:spPr>
              <a:xfrm>
                <a:off x="-2654929" y="762251"/>
                <a:ext cx="26531" cy="48161"/>
              </a:xfrm>
              <a:custGeom>
                <a:avLst/>
                <a:gdLst>
                  <a:gd name="connsiteX0" fmla="*/ 26204 w 26531"/>
                  <a:gd name="connsiteY0" fmla="*/ 38965 h 48161"/>
                  <a:gd name="connsiteX1" fmla="*/ 12823 w 26531"/>
                  <a:gd name="connsiteY1" fmla="*/ 297 h 48161"/>
                  <a:gd name="connsiteX2" fmla="*/ 6713 w 26531"/>
                  <a:gd name="connsiteY2" fmla="*/ 847 h 48161"/>
                  <a:gd name="connsiteX3" fmla="*/ 603 w 26531"/>
                  <a:gd name="connsiteY3" fmla="*/ 17768 h 48161"/>
                  <a:gd name="connsiteX4" fmla="*/ 2191 w 26531"/>
                  <a:gd name="connsiteY4" fmla="*/ 38660 h 48161"/>
                  <a:gd name="connsiteX5" fmla="*/ 10636 w 26531"/>
                  <a:gd name="connsiteY5" fmla="*/ 48147 h 48161"/>
                  <a:gd name="connsiteX6" fmla="*/ 12456 w 26531"/>
                  <a:gd name="connsiteY6" fmla="*/ 48067 h 48161"/>
                  <a:gd name="connsiteX7" fmla="*/ 18200 w 26531"/>
                  <a:gd name="connsiteY7" fmla="*/ 47273 h 48161"/>
                  <a:gd name="connsiteX8" fmla="*/ 25960 w 26531"/>
                  <a:gd name="connsiteY8" fmla="*/ 38965 h 48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6531" h="48161">
                    <a:moveTo>
                      <a:pt x="26204" y="38965"/>
                    </a:moveTo>
                    <a:cubicBezTo>
                      <a:pt x="27060" y="26748"/>
                      <a:pt x="27304" y="4085"/>
                      <a:pt x="12823" y="297"/>
                    </a:cubicBezTo>
                    <a:cubicBezTo>
                      <a:pt x="10782" y="-240"/>
                      <a:pt x="8619" y="-45"/>
                      <a:pt x="6713" y="847"/>
                    </a:cubicBezTo>
                    <a:cubicBezTo>
                      <a:pt x="3169" y="2497"/>
                      <a:pt x="-1719" y="6956"/>
                      <a:pt x="603" y="17768"/>
                    </a:cubicBezTo>
                    <a:cubicBezTo>
                      <a:pt x="2063" y="24628"/>
                      <a:pt x="2601" y="31659"/>
                      <a:pt x="2191" y="38660"/>
                    </a:cubicBezTo>
                    <a:cubicBezTo>
                      <a:pt x="1904" y="43608"/>
                      <a:pt x="5686" y="47860"/>
                      <a:pt x="10636" y="48147"/>
                    </a:cubicBezTo>
                    <a:cubicBezTo>
                      <a:pt x="11247" y="48183"/>
                      <a:pt x="11852" y="48153"/>
                      <a:pt x="12456" y="48067"/>
                    </a:cubicBezTo>
                    <a:lnTo>
                      <a:pt x="18200" y="47273"/>
                    </a:lnTo>
                    <a:cubicBezTo>
                      <a:pt x="22446" y="46723"/>
                      <a:pt x="25703" y="43235"/>
                      <a:pt x="25960" y="38965"/>
                    </a:cubicBezTo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5" name="Freihandform 564">
                <a:extLst>
                  <a:ext uri="{FF2B5EF4-FFF2-40B4-BE49-F238E27FC236}">
                    <a16:creationId xmlns:a16="http://schemas.microsoft.com/office/drawing/2014/main" id="{E238DE37-B5CC-DC4C-B7FF-C07C2D00563C}"/>
                  </a:ext>
                </a:extLst>
              </p:cNvPr>
              <p:cNvSpPr/>
              <p:nvPr/>
            </p:nvSpPr>
            <p:spPr>
              <a:xfrm>
                <a:off x="-2673634" y="731883"/>
                <a:ext cx="27984" cy="27977"/>
              </a:xfrm>
              <a:custGeom>
                <a:avLst/>
                <a:gdLst>
                  <a:gd name="connsiteX0" fmla="*/ 0 w 27984"/>
                  <a:gd name="connsiteY0" fmla="*/ 13989 h 27977"/>
                  <a:gd name="connsiteX1" fmla="*/ 13992 w 27984"/>
                  <a:gd name="connsiteY1" fmla="*/ 27978 h 27977"/>
                  <a:gd name="connsiteX2" fmla="*/ 27984 w 27984"/>
                  <a:gd name="connsiteY2" fmla="*/ 13989 h 27977"/>
                  <a:gd name="connsiteX3" fmla="*/ 13992 w 27984"/>
                  <a:gd name="connsiteY3" fmla="*/ 0 h 27977"/>
                  <a:gd name="connsiteX4" fmla="*/ 0 w 27984"/>
                  <a:gd name="connsiteY4" fmla="*/ 13867 h 27977"/>
                  <a:gd name="connsiteX5" fmla="*/ 0 w 27984"/>
                  <a:gd name="connsiteY5" fmla="*/ 13989 h 279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984" h="27977">
                    <a:moveTo>
                      <a:pt x="0" y="13989"/>
                    </a:moveTo>
                    <a:cubicBezTo>
                      <a:pt x="0" y="21717"/>
                      <a:pt x="6263" y="27978"/>
                      <a:pt x="13992" y="27978"/>
                    </a:cubicBezTo>
                    <a:cubicBezTo>
                      <a:pt x="21721" y="27978"/>
                      <a:pt x="27984" y="21717"/>
                      <a:pt x="27984" y="13989"/>
                    </a:cubicBezTo>
                    <a:cubicBezTo>
                      <a:pt x="27984" y="6262"/>
                      <a:pt x="21721" y="0"/>
                      <a:pt x="13992" y="0"/>
                    </a:cubicBezTo>
                    <a:cubicBezTo>
                      <a:pt x="6300" y="-36"/>
                      <a:pt x="37" y="6176"/>
                      <a:pt x="0" y="13867"/>
                    </a:cubicBezTo>
                    <a:cubicBezTo>
                      <a:pt x="0" y="13910"/>
                      <a:pt x="0" y="13946"/>
                      <a:pt x="0" y="13989"/>
                    </a:cubicBezTo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6" name="Freihandform 565">
                <a:extLst>
                  <a:ext uri="{FF2B5EF4-FFF2-40B4-BE49-F238E27FC236}">
                    <a16:creationId xmlns:a16="http://schemas.microsoft.com/office/drawing/2014/main" id="{7DBB1E1A-6340-1848-9CE2-041FAAF4DB17}"/>
                  </a:ext>
                </a:extLst>
              </p:cNvPr>
              <p:cNvSpPr/>
              <p:nvPr/>
            </p:nvSpPr>
            <p:spPr>
              <a:xfrm>
                <a:off x="-2683527" y="736098"/>
                <a:ext cx="20891" cy="10784"/>
              </a:xfrm>
              <a:custGeom>
                <a:avLst/>
                <a:gdLst>
                  <a:gd name="connsiteX0" fmla="*/ 20219 w 20891"/>
                  <a:gd name="connsiteY0" fmla="*/ 0 h 10784"/>
                  <a:gd name="connsiteX1" fmla="*/ 1889 w 20891"/>
                  <a:gd name="connsiteY1" fmla="*/ 3115 h 10784"/>
                  <a:gd name="connsiteX2" fmla="*/ 2989 w 20891"/>
                  <a:gd name="connsiteY2" fmla="*/ 10079 h 10784"/>
                  <a:gd name="connsiteX3" fmla="*/ 20891 w 20891"/>
                  <a:gd name="connsiteY3" fmla="*/ 10629 h 10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891" h="10784">
                    <a:moveTo>
                      <a:pt x="20219" y="0"/>
                    </a:moveTo>
                    <a:cubicBezTo>
                      <a:pt x="14268" y="1820"/>
                      <a:pt x="8109" y="2865"/>
                      <a:pt x="1889" y="3115"/>
                    </a:cubicBezTo>
                    <a:cubicBezTo>
                      <a:pt x="-1166" y="1955"/>
                      <a:pt x="-311" y="9224"/>
                      <a:pt x="2989" y="10079"/>
                    </a:cubicBezTo>
                    <a:cubicBezTo>
                      <a:pt x="8928" y="10770"/>
                      <a:pt x="14922" y="10953"/>
                      <a:pt x="20891" y="10629"/>
                    </a:cubicBezTo>
                    <a:close/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7" name="Freihandform 566">
                <a:extLst>
                  <a:ext uri="{FF2B5EF4-FFF2-40B4-BE49-F238E27FC236}">
                    <a16:creationId xmlns:a16="http://schemas.microsoft.com/office/drawing/2014/main" id="{9639FFE7-5D7A-D743-A74A-1C04739BAC7B}"/>
                  </a:ext>
                </a:extLst>
              </p:cNvPr>
              <p:cNvSpPr/>
              <p:nvPr/>
            </p:nvSpPr>
            <p:spPr>
              <a:xfrm>
                <a:off x="-2690071" y="769190"/>
                <a:ext cx="46309" cy="23599"/>
              </a:xfrm>
              <a:custGeom>
                <a:avLst/>
                <a:gdLst>
                  <a:gd name="connsiteX0" fmla="*/ 37089 w 46309"/>
                  <a:gd name="connsiteY0" fmla="*/ 17 h 23599"/>
                  <a:gd name="connsiteX1" fmla="*/ 8311 w 46309"/>
                  <a:gd name="connsiteY1" fmla="*/ 12845 h 23599"/>
                  <a:gd name="connsiteX2" fmla="*/ 1040 w 46309"/>
                  <a:gd name="connsiteY2" fmla="*/ 19259 h 23599"/>
                  <a:gd name="connsiteX3" fmla="*/ 3606 w 46309"/>
                  <a:gd name="connsiteY3" fmla="*/ 21580 h 23599"/>
                  <a:gd name="connsiteX4" fmla="*/ 37945 w 46309"/>
                  <a:gd name="connsiteY4" fmla="*/ 14555 h 23599"/>
                  <a:gd name="connsiteX5" fmla="*/ 37089 w 46309"/>
                  <a:gd name="connsiteY5" fmla="*/ 17 h 23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6309" h="23599">
                    <a:moveTo>
                      <a:pt x="37089" y="17"/>
                    </a:moveTo>
                    <a:cubicBezTo>
                      <a:pt x="37089" y="1116"/>
                      <a:pt x="21997" y="14861"/>
                      <a:pt x="8311" y="12845"/>
                    </a:cubicBezTo>
                    <a:cubicBezTo>
                      <a:pt x="-1893" y="11440"/>
                      <a:pt x="-427" y="16571"/>
                      <a:pt x="1040" y="19259"/>
                    </a:cubicBezTo>
                    <a:cubicBezTo>
                      <a:pt x="1571" y="20328"/>
                      <a:pt x="2488" y="21153"/>
                      <a:pt x="3606" y="21580"/>
                    </a:cubicBezTo>
                    <a:cubicBezTo>
                      <a:pt x="15459" y="25893"/>
                      <a:pt x="28737" y="23181"/>
                      <a:pt x="37945" y="14555"/>
                    </a:cubicBezTo>
                    <a:cubicBezTo>
                      <a:pt x="57252" y="-1083"/>
                      <a:pt x="37089" y="17"/>
                      <a:pt x="37089" y="17"/>
                    </a:cubicBezTo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8" name="Freihandform 567">
                <a:extLst>
                  <a:ext uri="{FF2B5EF4-FFF2-40B4-BE49-F238E27FC236}">
                    <a16:creationId xmlns:a16="http://schemas.microsoft.com/office/drawing/2014/main" id="{CF903625-2C35-7348-AF92-FAA3AE5539ED}"/>
                  </a:ext>
                </a:extLst>
              </p:cNvPr>
              <p:cNvSpPr/>
              <p:nvPr/>
            </p:nvSpPr>
            <p:spPr>
              <a:xfrm>
                <a:off x="-2700299" y="783845"/>
                <a:ext cx="18748" cy="16951"/>
              </a:xfrm>
              <a:custGeom>
                <a:avLst/>
                <a:gdLst>
                  <a:gd name="connsiteX0" fmla="*/ 7724 w 18748"/>
                  <a:gd name="connsiteY0" fmla="*/ 10286 h 16951"/>
                  <a:gd name="connsiteX1" fmla="*/ 18600 w 18748"/>
                  <a:gd name="connsiteY1" fmla="*/ 16761 h 16951"/>
                  <a:gd name="connsiteX2" fmla="*/ 11024 w 18748"/>
                  <a:gd name="connsiteY2" fmla="*/ 6682 h 16951"/>
                  <a:gd name="connsiteX3" fmla="*/ 209 w 18748"/>
                  <a:gd name="connsiteY3" fmla="*/ 206 h 16951"/>
                  <a:gd name="connsiteX4" fmla="*/ 4913 w 18748"/>
                  <a:gd name="connsiteY4" fmla="*/ 7537 h 16951"/>
                  <a:gd name="connsiteX5" fmla="*/ 7724 w 18748"/>
                  <a:gd name="connsiteY5" fmla="*/ 10286 h 16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748" h="16951">
                    <a:moveTo>
                      <a:pt x="7724" y="10286"/>
                    </a:moveTo>
                    <a:cubicBezTo>
                      <a:pt x="12795" y="14867"/>
                      <a:pt x="17683" y="17738"/>
                      <a:pt x="18600" y="16761"/>
                    </a:cubicBezTo>
                    <a:cubicBezTo>
                      <a:pt x="19517" y="15783"/>
                      <a:pt x="16095" y="11202"/>
                      <a:pt x="11024" y="6682"/>
                    </a:cubicBezTo>
                    <a:cubicBezTo>
                      <a:pt x="5952" y="2161"/>
                      <a:pt x="1125" y="-832"/>
                      <a:pt x="209" y="206"/>
                    </a:cubicBezTo>
                    <a:cubicBezTo>
                      <a:pt x="-708" y="1245"/>
                      <a:pt x="1492" y="4055"/>
                      <a:pt x="4913" y="7537"/>
                    </a:cubicBezTo>
                    <a:cubicBezTo>
                      <a:pt x="5769" y="8453"/>
                      <a:pt x="6746" y="9369"/>
                      <a:pt x="7724" y="10286"/>
                    </a:cubicBezTo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547" name="Freihandform 546">
              <a:extLst>
                <a:ext uri="{FF2B5EF4-FFF2-40B4-BE49-F238E27FC236}">
                  <a16:creationId xmlns:a16="http://schemas.microsoft.com/office/drawing/2014/main" id="{4204D98A-EE92-0F47-B156-41CCD73C42DE}"/>
                </a:ext>
              </a:extLst>
            </p:cNvPr>
            <p:cNvSpPr/>
            <p:nvPr/>
          </p:nvSpPr>
          <p:spPr>
            <a:xfrm>
              <a:off x="3132535" y="2963459"/>
              <a:ext cx="46809" cy="44082"/>
            </a:xfrm>
            <a:custGeom>
              <a:avLst/>
              <a:gdLst>
                <a:gd name="connsiteX0" fmla="*/ 17903 w 17902"/>
                <a:gd name="connsiteY0" fmla="*/ 4276 h 16859"/>
                <a:gd name="connsiteX1" fmla="*/ 5071 w 17902"/>
                <a:gd name="connsiteY1" fmla="*/ 16860 h 16859"/>
                <a:gd name="connsiteX2" fmla="*/ 0 w 17902"/>
                <a:gd name="connsiteY2" fmla="*/ 9591 h 16859"/>
                <a:gd name="connsiteX3" fmla="*/ 11548 w 17902"/>
                <a:gd name="connsiteY3" fmla="*/ 0 h 16859"/>
                <a:gd name="connsiteX4" fmla="*/ 17903 w 17902"/>
                <a:gd name="connsiteY4" fmla="*/ 4276 h 1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02" h="16859">
                  <a:moveTo>
                    <a:pt x="17903" y="4276"/>
                  </a:moveTo>
                  <a:lnTo>
                    <a:pt x="5071" y="16860"/>
                  </a:lnTo>
                  <a:lnTo>
                    <a:pt x="0" y="9591"/>
                  </a:lnTo>
                  <a:lnTo>
                    <a:pt x="11548" y="0"/>
                  </a:lnTo>
                  <a:lnTo>
                    <a:pt x="17903" y="4276"/>
                  </a:lnTo>
                  <a:close/>
                </a:path>
              </a:pathLst>
            </a:custGeom>
            <a:grpFill/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48" name="Grafik 5">
              <a:extLst>
                <a:ext uri="{FF2B5EF4-FFF2-40B4-BE49-F238E27FC236}">
                  <a16:creationId xmlns:a16="http://schemas.microsoft.com/office/drawing/2014/main" id="{7DB84A63-B1B0-D347-8D06-B65AD98CC85D}"/>
                </a:ext>
              </a:extLst>
            </p:cNvPr>
            <p:cNvGrpSpPr/>
            <p:nvPr/>
          </p:nvGrpSpPr>
          <p:grpSpPr>
            <a:xfrm>
              <a:off x="2504664" y="2767794"/>
              <a:ext cx="956184" cy="518791"/>
              <a:chOff x="-2947060" y="716550"/>
              <a:chExt cx="365688" cy="198409"/>
            </a:xfrm>
            <a:grpFill/>
          </p:grpSpPr>
          <p:sp>
            <p:nvSpPr>
              <p:cNvPr id="560" name="Freihandform 559">
                <a:extLst>
                  <a:ext uri="{FF2B5EF4-FFF2-40B4-BE49-F238E27FC236}">
                    <a16:creationId xmlns:a16="http://schemas.microsoft.com/office/drawing/2014/main" id="{F9F2C3F1-A687-6948-8F12-4B5E39ECA83F}"/>
                  </a:ext>
                </a:extLst>
              </p:cNvPr>
              <p:cNvSpPr/>
              <p:nvPr/>
            </p:nvSpPr>
            <p:spPr>
              <a:xfrm>
                <a:off x="-2750926" y="716550"/>
                <a:ext cx="169554" cy="164384"/>
              </a:xfrm>
              <a:custGeom>
                <a:avLst/>
                <a:gdLst>
                  <a:gd name="connsiteX0" fmla="*/ 51814 w 169554"/>
                  <a:gd name="connsiteY0" fmla="*/ 81917 h 164384"/>
                  <a:gd name="connsiteX1" fmla="*/ 51814 w 169554"/>
                  <a:gd name="connsiteY1" fmla="*/ 109345 h 164384"/>
                  <a:gd name="connsiteX2" fmla="*/ 66661 w 169554"/>
                  <a:gd name="connsiteY2" fmla="*/ 87476 h 164384"/>
                  <a:gd name="connsiteX3" fmla="*/ 128495 w 169554"/>
                  <a:gd name="connsiteY3" fmla="*/ 87476 h 164384"/>
                  <a:gd name="connsiteX4" fmla="*/ 127701 w 169554"/>
                  <a:gd name="connsiteY4" fmla="*/ 9774 h 164384"/>
                  <a:gd name="connsiteX5" fmla="*/ 68372 w 169554"/>
                  <a:gd name="connsiteY5" fmla="*/ 9774 h 164384"/>
                  <a:gd name="connsiteX6" fmla="*/ 40999 w 169554"/>
                  <a:gd name="connsiteY6" fmla="*/ 81917 h 164384"/>
                  <a:gd name="connsiteX7" fmla="*/ 6232 w 169554"/>
                  <a:gd name="connsiteY7" fmla="*/ 113255 h 164384"/>
                  <a:gd name="connsiteX8" fmla="*/ 6232 w 169554"/>
                  <a:gd name="connsiteY8" fmla="*/ 1955 h 164384"/>
                  <a:gd name="connsiteX9" fmla="*/ 13259 w 169554"/>
                  <a:gd name="connsiteY9" fmla="*/ 1955 h 164384"/>
                  <a:gd name="connsiteX10" fmla="*/ 13259 w 169554"/>
                  <a:gd name="connsiteY10" fmla="*/ 115210 h 164384"/>
                  <a:gd name="connsiteX11" fmla="*/ 16619 w 169554"/>
                  <a:gd name="connsiteY11" fmla="*/ 115210 h 164384"/>
                  <a:gd name="connsiteX12" fmla="*/ 16619 w 169554"/>
                  <a:gd name="connsiteY12" fmla="*/ 139644 h 164384"/>
                  <a:gd name="connsiteX13" fmla="*/ 23768 w 169554"/>
                  <a:gd name="connsiteY13" fmla="*/ 139644 h 164384"/>
                  <a:gd name="connsiteX14" fmla="*/ 23768 w 169554"/>
                  <a:gd name="connsiteY14" fmla="*/ 139644 h 164384"/>
                  <a:gd name="connsiteX15" fmla="*/ 23768 w 169554"/>
                  <a:gd name="connsiteY15" fmla="*/ 139644 h 164384"/>
                  <a:gd name="connsiteX16" fmla="*/ 23768 w 169554"/>
                  <a:gd name="connsiteY16" fmla="*/ 97311 h 164384"/>
                  <a:gd name="connsiteX17" fmla="*/ 60918 w 169554"/>
                  <a:gd name="connsiteY17" fmla="*/ 0 h 164384"/>
                  <a:gd name="connsiteX18" fmla="*/ 135888 w 169554"/>
                  <a:gd name="connsiteY18" fmla="*/ 0 h 164384"/>
                  <a:gd name="connsiteX19" fmla="*/ 135888 w 169554"/>
                  <a:gd name="connsiteY19" fmla="*/ 101221 h 164384"/>
                  <a:gd name="connsiteX20" fmla="*/ 160329 w 169554"/>
                  <a:gd name="connsiteY20" fmla="*/ 101221 h 164384"/>
                  <a:gd name="connsiteX21" fmla="*/ 160329 w 169554"/>
                  <a:gd name="connsiteY21" fmla="*/ 120768 h 164384"/>
                  <a:gd name="connsiteX22" fmla="*/ 169555 w 169554"/>
                  <a:gd name="connsiteY22" fmla="*/ 120768 h 164384"/>
                  <a:gd name="connsiteX23" fmla="*/ 169555 w 169554"/>
                  <a:gd name="connsiteY23" fmla="*/ 164384 h 164384"/>
                  <a:gd name="connsiteX24" fmla="*/ 158618 w 169554"/>
                  <a:gd name="connsiteY24" fmla="*/ 164384 h 164384"/>
                  <a:gd name="connsiteX25" fmla="*/ 124206 w 169554"/>
                  <a:gd name="connsiteY25" fmla="*/ 157127 h 164384"/>
                  <a:gd name="connsiteX26" fmla="*/ 116947 w 169554"/>
                  <a:gd name="connsiteY26" fmla="*/ 164384 h 164384"/>
                  <a:gd name="connsiteX27" fmla="*/ 61956 w 169554"/>
                  <a:gd name="connsiteY27" fmla="*/ 164384 h 164384"/>
                  <a:gd name="connsiteX28" fmla="*/ 27544 w 169554"/>
                  <a:gd name="connsiteY28" fmla="*/ 157127 h 164384"/>
                  <a:gd name="connsiteX29" fmla="*/ 20285 w 169554"/>
                  <a:gd name="connsiteY29" fmla="*/ 164384 h 164384"/>
                  <a:gd name="connsiteX30" fmla="*/ 6721 w 169554"/>
                  <a:gd name="connsiteY30" fmla="*/ 164384 h 164384"/>
                  <a:gd name="connsiteX31" fmla="*/ 0 w 169554"/>
                  <a:gd name="connsiteY31" fmla="*/ 158276 h 164384"/>
                  <a:gd name="connsiteX32" fmla="*/ 0 w 169554"/>
                  <a:gd name="connsiteY32" fmla="*/ 114660 h 164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169554" h="164384">
                    <a:moveTo>
                      <a:pt x="51814" y="81917"/>
                    </a:moveTo>
                    <a:lnTo>
                      <a:pt x="51814" y="109345"/>
                    </a:lnTo>
                    <a:lnTo>
                      <a:pt x="66661" y="87476"/>
                    </a:lnTo>
                    <a:lnTo>
                      <a:pt x="128495" y="87476"/>
                    </a:lnTo>
                    <a:lnTo>
                      <a:pt x="127701" y="9774"/>
                    </a:lnTo>
                    <a:lnTo>
                      <a:pt x="68372" y="9774"/>
                    </a:lnTo>
                    <a:lnTo>
                      <a:pt x="40999" y="81917"/>
                    </a:lnTo>
                    <a:close/>
                    <a:moveTo>
                      <a:pt x="6232" y="113255"/>
                    </a:moveTo>
                    <a:lnTo>
                      <a:pt x="6232" y="1955"/>
                    </a:lnTo>
                    <a:lnTo>
                      <a:pt x="13259" y="1955"/>
                    </a:lnTo>
                    <a:lnTo>
                      <a:pt x="13259" y="115210"/>
                    </a:lnTo>
                    <a:lnTo>
                      <a:pt x="16619" y="115210"/>
                    </a:lnTo>
                    <a:lnTo>
                      <a:pt x="16619" y="139644"/>
                    </a:lnTo>
                    <a:cubicBezTo>
                      <a:pt x="18996" y="139449"/>
                      <a:pt x="21391" y="139449"/>
                      <a:pt x="23768" y="139644"/>
                    </a:cubicBezTo>
                    <a:cubicBezTo>
                      <a:pt x="23768" y="139644"/>
                      <a:pt x="23768" y="139644"/>
                      <a:pt x="23768" y="139644"/>
                    </a:cubicBezTo>
                    <a:cubicBezTo>
                      <a:pt x="23768" y="139644"/>
                      <a:pt x="23768" y="139644"/>
                      <a:pt x="23768" y="139644"/>
                    </a:cubicBezTo>
                    <a:cubicBezTo>
                      <a:pt x="23218" y="136773"/>
                      <a:pt x="23768" y="97311"/>
                      <a:pt x="23768" y="97311"/>
                    </a:cubicBezTo>
                    <a:lnTo>
                      <a:pt x="60918" y="0"/>
                    </a:lnTo>
                    <a:lnTo>
                      <a:pt x="135888" y="0"/>
                    </a:lnTo>
                    <a:lnTo>
                      <a:pt x="135888" y="101221"/>
                    </a:lnTo>
                    <a:lnTo>
                      <a:pt x="160329" y="101221"/>
                    </a:lnTo>
                    <a:lnTo>
                      <a:pt x="160329" y="120768"/>
                    </a:lnTo>
                    <a:lnTo>
                      <a:pt x="169555" y="120768"/>
                    </a:lnTo>
                    <a:lnTo>
                      <a:pt x="169555" y="164384"/>
                    </a:lnTo>
                    <a:lnTo>
                      <a:pt x="158618" y="164384"/>
                    </a:lnTo>
                    <a:cubicBezTo>
                      <a:pt x="151121" y="152882"/>
                      <a:pt x="135711" y="149632"/>
                      <a:pt x="124206" y="157127"/>
                    </a:cubicBezTo>
                    <a:cubicBezTo>
                      <a:pt x="121310" y="159015"/>
                      <a:pt x="118835" y="161489"/>
                      <a:pt x="116947" y="164384"/>
                    </a:cubicBezTo>
                    <a:lnTo>
                      <a:pt x="61956" y="164384"/>
                    </a:lnTo>
                    <a:cubicBezTo>
                      <a:pt x="54459" y="152882"/>
                      <a:pt x="39050" y="149632"/>
                      <a:pt x="27544" y="157127"/>
                    </a:cubicBezTo>
                    <a:cubicBezTo>
                      <a:pt x="24648" y="159015"/>
                      <a:pt x="22173" y="161489"/>
                      <a:pt x="20285" y="164384"/>
                    </a:cubicBezTo>
                    <a:lnTo>
                      <a:pt x="6721" y="164384"/>
                    </a:lnTo>
                    <a:lnTo>
                      <a:pt x="0" y="158276"/>
                    </a:lnTo>
                    <a:lnTo>
                      <a:pt x="0" y="114660"/>
                    </a:lnTo>
                    <a:close/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1" name="Freihandform 560">
                <a:extLst>
                  <a:ext uri="{FF2B5EF4-FFF2-40B4-BE49-F238E27FC236}">
                    <a16:creationId xmlns:a16="http://schemas.microsoft.com/office/drawing/2014/main" id="{AF679F23-DDA8-1C48-B53F-7A52DAF1765B}"/>
                  </a:ext>
                </a:extLst>
              </p:cNvPr>
              <p:cNvSpPr/>
              <p:nvPr/>
            </p:nvSpPr>
            <p:spPr>
              <a:xfrm>
                <a:off x="-2730030" y="873787"/>
                <a:ext cx="41181" cy="41172"/>
              </a:xfrm>
              <a:custGeom>
                <a:avLst/>
                <a:gdLst>
                  <a:gd name="connsiteX0" fmla="*/ 20591 w 41181"/>
                  <a:gd name="connsiteY0" fmla="*/ 28711 h 41172"/>
                  <a:gd name="connsiteX1" fmla="*/ 28717 w 41181"/>
                  <a:gd name="connsiteY1" fmla="*/ 20586 h 41172"/>
                  <a:gd name="connsiteX2" fmla="*/ 20591 w 41181"/>
                  <a:gd name="connsiteY2" fmla="*/ 12462 h 41172"/>
                  <a:gd name="connsiteX3" fmla="*/ 12465 w 41181"/>
                  <a:gd name="connsiteY3" fmla="*/ 20586 h 41172"/>
                  <a:gd name="connsiteX4" fmla="*/ 20591 w 41181"/>
                  <a:gd name="connsiteY4" fmla="*/ 28711 h 41172"/>
                  <a:gd name="connsiteX5" fmla="*/ 20591 w 41181"/>
                  <a:gd name="connsiteY5" fmla="*/ 0 h 41172"/>
                  <a:gd name="connsiteX6" fmla="*/ 41182 w 41181"/>
                  <a:gd name="connsiteY6" fmla="*/ 20586 h 41172"/>
                  <a:gd name="connsiteX7" fmla="*/ 20591 w 41181"/>
                  <a:gd name="connsiteY7" fmla="*/ 41172 h 41172"/>
                  <a:gd name="connsiteX8" fmla="*/ 0 w 41181"/>
                  <a:gd name="connsiteY8" fmla="*/ 20586 h 41172"/>
                  <a:gd name="connsiteX9" fmla="*/ 20591 w 41181"/>
                  <a:gd name="connsiteY9" fmla="*/ 0 h 41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1181" h="41172">
                    <a:moveTo>
                      <a:pt x="20591" y="28711"/>
                    </a:moveTo>
                    <a:cubicBezTo>
                      <a:pt x="25082" y="28711"/>
                      <a:pt x="28717" y="25076"/>
                      <a:pt x="28717" y="20586"/>
                    </a:cubicBezTo>
                    <a:cubicBezTo>
                      <a:pt x="28717" y="16096"/>
                      <a:pt x="25082" y="12462"/>
                      <a:pt x="20591" y="12462"/>
                    </a:cubicBezTo>
                    <a:cubicBezTo>
                      <a:pt x="16100" y="12462"/>
                      <a:pt x="12465" y="16096"/>
                      <a:pt x="12465" y="20586"/>
                    </a:cubicBezTo>
                    <a:cubicBezTo>
                      <a:pt x="12495" y="25058"/>
                      <a:pt x="16118" y="28680"/>
                      <a:pt x="20591" y="28711"/>
                    </a:cubicBezTo>
                    <a:moveTo>
                      <a:pt x="20591" y="0"/>
                    </a:moveTo>
                    <a:cubicBezTo>
                      <a:pt x="31962" y="0"/>
                      <a:pt x="41182" y="9218"/>
                      <a:pt x="41182" y="20586"/>
                    </a:cubicBezTo>
                    <a:cubicBezTo>
                      <a:pt x="41182" y="31954"/>
                      <a:pt x="31962" y="41172"/>
                      <a:pt x="20591" y="41172"/>
                    </a:cubicBezTo>
                    <a:cubicBezTo>
                      <a:pt x="9220" y="41172"/>
                      <a:pt x="0" y="31954"/>
                      <a:pt x="0" y="20586"/>
                    </a:cubicBezTo>
                    <a:cubicBezTo>
                      <a:pt x="0" y="9218"/>
                      <a:pt x="9220" y="0"/>
                      <a:pt x="20591" y="0"/>
                    </a:cubicBezTo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2" name="Freihandform 561">
                <a:extLst>
                  <a:ext uri="{FF2B5EF4-FFF2-40B4-BE49-F238E27FC236}">
                    <a16:creationId xmlns:a16="http://schemas.microsoft.com/office/drawing/2014/main" id="{68370074-DDD5-124B-BDF0-91AF84395D3C}"/>
                  </a:ext>
                </a:extLst>
              </p:cNvPr>
              <p:cNvSpPr/>
              <p:nvPr/>
            </p:nvSpPr>
            <p:spPr>
              <a:xfrm>
                <a:off x="-2633429" y="873787"/>
                <a:ext cx="41182" cy="41172"/>
              </a:xfrm>
              <a:custGeom>
                <a:avLst/>
                <a:gdLst>
                  <a:gd name="connsiteX0" fmla="*/ 20591 w 41182"/>
                  <a:gd name="connsiteY0" fmla="*/ 28711 h 41172"/>
                  <a:gd name="connsiteX1" fmla="*/ 28717 w 41182"/>
                  <a:gd name="connsiteY1" fmla="*/ 20586 h 41172"/>
                  <a:gd name="connsiteX2" fmla="*/ 20591 w 41182"/>
                  <a:gd name="connsiteY2" fmla="*/ 12462 h 41172"/>
                  <a:gd name="connsiteX3" fmla="*/ 12465 w 41182"/>
                  <a:gd name="connsiteY3" fmla="*/ 20586 h 41172"/>
                  <a:gd name="connsiteX4" fmla="*/ 20591 w 41182"/>
                  <a:gd name="connsiteY4" fmla="*/ 28711 h 41172"/>
                  <a:gd name="connsiteX5" fmla="*/ 20591 w 41182"/>
                  <a:gd name="connsiteY5" fmla="*/ 0 h 41172"/>
                  <a:gd name="connsiteX6" fmla="*/ 41182 w 41182"/>
                  <a:gd name="connsiteY6" fmla="*/ 20586 h 41172"/>
                  <a:gd name="connsiteX7" fmla="*/ 20591 w 41182"/>
                  <a:gd name="connsiteY7" fmla="*/ 41172 h 41172"/>
                  <a:gd name="connsiteX8" fmla="*/ 0 w 41182"/>
                  <a:gd name="connsiteY8" fmla="*/ 20586 h 41172"/>
                  <a:gd name="connsiteX9" fmla="*/ 20591 w 41182"/>
                  <a:gd name="connsiteY9" fmla="*/ 0 h 41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1182" h="41172">
                    <a:moveTo>
                      <a:pt x="20591" y="28711"/>
                    </a:moveTo>
                    <a:cubicBezTo>
                      <a:pt x="25082" y="28711"/>
                      <a:pt x="28717" y="25076"/>
                      <a:pt x="28717" y="20586"/>
                    </a:cubicBezTo>
                    <a:cubicBezTo>
                      <a:pt x="28717" y="16096"/>
                      <a:pt x="25082" y="12462"/>
                      <a:pt x="20591" y="12462"/>
                    </a:cubicBezTo>
                    <a:cubicBezTo>
                      <a:pt x="16100" y="12462"/>
                      <a:pt x="12465" y="16096"/>
                      <a:pt x="12465" y="20586"/>
                    </a:cubicBezTo>
                    <a:cubicBezTo>
                      <a:pt x="12495" y="25058"/>
                      <a:pt x="16118" y="28680"/>
                      <a:pt x="20591" y="28711"/>
                    </a:cubicBezTo>
                    <a:moveTo>
                      <a:pt x="20591" y="0"/>
                    </a:moveTo>
                    <a:cubicBezTo>
                      <a:pt x="31962" y="0"/>
                      <a:pt x="41182" y="9218"/>
                      <a:pt x="41182" y="20586"/>
                    </a:cubicBezTo>
                    <a:cubicBezTo>
                      <a:pt x="41182" y="31954"/>
                      <a:pt x="31962" y="41172"/>
                      <a:pt x="20591" y="41172"/>
                    </a:cubicBezTo>
                    <a:cubicBezTo>
                      <a:pt x="9220" y="41172"/>
                      <a:pt x="0" y="31954"/>
                      <a:pt x="0" y="20586"/>
                    </a:cubicBezTo>
                    <a:cubicBezTo>
                      <a:pt x="0" y="9218"/>
                      <a:pt x="9220" y="0"/>
                      <a:pt x="20591" y="0"/>
                    </a:cubicBezTo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3" name="Freihandform 562">
                <a:extLst>
                  <a:ext uri="{FF2B5EF4-FFF2-40B4-BE49-F238E27FC236}">
                    <a16:creationId xmlns:a16="http://schemas.microsoft.com/office/drawing/2014/main" id="{B5F0579E-07EA-BD49-AF04-8FAE266C0E22}"/>
                  </a:ext>
                </a:extLst>
              </p:cNvPr>
              <p:cNvSpPr/>
              <p:nvPr/>
            </p:nvSpPr>
            <p:spPr>
              <a:xfrm>
                <a:off x="-2947060" y="859004"/>
                <a:ext cx="6110" cy="6108"/>
              </a:xfrm>
              <a:custGeom>
                <a:avLst/>
                <a:gdLst>
                  <a:gd name="connsiteX0" fmla="*/ 0 w 6110"/>
                  <a:gd name="connsiteY0" fmla="*/ 0 h 6108"/>
                  <a:gd name="connsiteX1" fmla="*/ 0 w 6110"/>
                  <a:gd name="connsiteY1" fmla="*/ 0 h 6108"/>
                  <a:gd name="connsiteX2" fmla="*/ 0 w 6110"/>
                  <a:gd name="connsiteY2" fmla="*/ 0 h 6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110" h="6108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549" name="Freihandform 548">
              <a:extLst>
                <a:ext uri="{FF2B5EF4-FFF2-40B4-BE49-F238E27FC236}">
                  <a16:creationId xmlns:a16="http://schemas.microsoft.com/office/drawing/2014/main" id="{FDA6A90C-DB6F-8D4D-B8B0-4DE496FA6E38}"/>
                </a:ext>
              </a:extLst>
            </p:cNvPr>
            <p:cNvSpPr/>
            <p:nvPr/>
          </p:nvSpPr>
          <p:spPr>
            <a:xfrm>
              <a:off x="2422386" y="3150341"/>
              <a:ext cx="48247" cy="20923"/>
            </a:xfrm>
            <a:custGeom>
              <a:avLst/>
              <a:gdLst>
                <a:gd name="connsiteX0" fmla="*/ 18330 w 18452"/>
                <a:gd name="connsiteY0" fmla="*/ 0 h 8002"/>
                <a:gd name="connsiteX1" fmla="*/ 0 w 18452"/>
                <a:gd name="connsiteY1" fmla="*/ 2810 h 8002"/>
                <a:gd name="connsiteX2" fmla="*/ 61 w 18452"/>
                <a:gd name="connsiteY2" fmla="*/ 7086 h 8002"/>
                <a:gd name="connsiteX3" fmla="*/ 18452 w 18452"/>
                <a:gd name="connsiteY3" fmla="*/ 8002 h 8002"/>
                <a:gd name="connsiteX4" fmla="*/ 18330 w 18452"/>
                <a:gd name="connsiteY4" fmla="*/ 0 h 8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52" h="8002">
                  <a:moveTo>
                    <a:pt x="18330" y="0"/>
                  </a:moveTo>
                  <a:lnTo>
                    <a:pt x="0" y="2810"/>
                  </a:lnTo>
                  <a:lnTo>
                    <a:pt x="61" y="7086"/>
                  </a:lnTo>
                  <a:lnTo>
                    <a:pt x="18452" y="8002"/>
                  </a:lnTo>
                  <a:lnTo>
                    <a:pt x="18330" y="0"/>
                  </a:lnTo>
                  <a:close/>
                </a:path>
              </a:pathLst>
            </a:custGeom>
            <a:grpFill/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50" name="Grafik 5">
              <a:extLst>
                <a:ext uri="{FF2B5EF4-FFF2-40B4-BE49-F238E27FC236}">
                  <a16:creationId xmlns:a16="http://schemas.microsoft.com/office/drawing/2014/main" id="{DEC020F2-1B93-BC4E-BCA5-4EF77B04A8C0}"/>
                </a:ext>
              </a:extLst>
            </p:cNvPr>
            <p:cNvGrpSpPr/>
            <p:nvPr/>
          </p:nvGrpSpPr>
          <p:grpSpPr>
            <a:xfrm>
              <a:off x="2548114" y="2935507"/>
              <a:ext cx="118472" cy="129368"/>
              <a:chOff x="-2930443" y="780691"/>
              <a:chExt cx="45309" cy="49476"/>
            </a:xfrm>
            <a:grpFill/>
          </p:grpSpPr>
          <p:sp>
            <p:nvSpPr>
              <p:cNvPr id="555" name="Freihandform 554">
                <a:extLst>
                  <a:ext uri="{FF2B5EF4-FFF2-40B4-BE49-F238E27FC236}">
                    <a16:creationId xmlns:a16="http://schemas.microsoft.com/office/drawing/2014/main" id="{3C0475E0-2002-F044-8624-33BC385307AE}"/>
                  </a:ext>
                </a:extLst>
              </p:cNvPr>
              <p:cNvSpPr/>
              <p:nvPr/>
            </p:nvSpPr>
            <p:spPr>
              <a:xfrm>
                <a:off x="-2901702" y="799664"/>
                <a:ext cx="16568" cy="30503"/>
              </a:xfrm>
              <a:custGeom>
                <a:avLst/>
                <a:gdLst>
                  <a:gd name="connsiteX0" fmla="*/ 16354 w 16568"/>
                  <a:gd name="connsiteY0" fmla="*/ 24643 h 30503"/>
                  <a:gd name="connsiteX1" fmla="*/ 7922 w 16568"/>
                  <a:gd name="connsiteY1" fmla="*/ 209 h 30503"/>
                  <a:gd name="connsiteX2" fmla="*/ 4194 w 16568"/>
                  <a:gd name="connsiteY2" fmla="*/ 514 h 30503"/>
                  <a:gd name="connsiteX3" fmla="*/ 406 w 16568"/>
                  <a:gd name="connsiteY3" fmla="*/ 11143 h 30503"/>
                  <a:gd name="connsiteX4" fmla="*/ 1384 w 16568"/>
                  <a:gd name="connsiteY4" fmla="*/ 24338 h 30503"/>
                  <a:gd name="connsiteX5" fmla="*/ 6559 w 16568"/>
                  <a:gd name="connsiteY5" fmla="*/ 30483 h 30503"/>
                  <a:gd name="connsiteX6" fmla="*/ 7861 w 16568"/>
                  <a:gd name="connsiteY6" fmla="*/ 30446 h 30503"/>
                  <a:gd name="connsiteX7" fmla="*/ 11465 w 16568"/>
                  <a:gd name="connsiteY7" fmla="*/ 29958 h 30503"/>
                  <a:gd name="connsiteX8" fmla="*/ 16354 w 16568"/>
                  <a:gd name="connsiteY8" fmla="*/ 24765 h 305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568" h="30503">
                    <a:moveTo>
                      <a:pt x="16354" y="24643"/>
                    </a:moveTo>
                    <a:cubicBezTo>
                      <a:pt x="16903" y="17068"/>
                      <a:pt x="17087" y="2652"/>
                      <a:pt x="7922" y="209"/>
                    </a:cubicBezTo>
                    <a:cubicBezTo>
                      <a:pt x="6681" y="-152"/>
                      <a:pt x="5355" y="-42"/>
                      <a:pt x="4194" y="514"/>
                    </a:cubicBezTo>
                    <a:cubicBezTo>
                      <a:pt x="1995" y="1552"/>
                      <a:pt x="-1121" y="4240"/>
                      <a:pt x="406" y="11143"/>
                    </a:cubicBezTo>
                    <a:cubicBezTo>
                      <a:pt x="1329" y="15474"/>
                      <a:pt x="1659" y="19915"/>
                      <a:pt x="1384" y="24338"/>
                    </a:cubicBezTo>
                    <a:cubicBezTo>
                      <a:pt x="1115" y="27465"/>
                      <a:pt x="3431" y="30214"/>
                      <a:pt x="6559" y="30483"/>
                    </a:cubicBezTo>
                    <a:cubicBezTo>
                      <a:pt x="6993" y="30520"/>
                      <a:pt x="7427" y="30507"/>
                      <a:pt x="7861" y="30446"/>
                    </a:cubicBezTo>
                    <a:lnTo>
                      <a:pt x="11465" y="29958"/>
                    </a:lnTo>
                    <a:cubicBezTo>
                      <a:pt x="14123" y="29616"/>
                      <a:pt x="16170" y="27441"/>
                      <a:pt x="16354" y="24765"/>
                    </a:cubicBezTo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6" name="Freihandform 555">
                <a:extLst>
                  <a:ext uri="{FF2B5EF4-FFF2-40B4-BE49-F238E27FC236}">
                    <a16:creationId xmlns:a16="http://schemas.microsoft.com/office/drawing/2014/main" id="{F97BEC2F-94E8-5F48-8505-3C19C91FFDC5}"/>
                  </a:ext>
                </a:extLst>
              </p:cNvPr>
              <p:cNvSpPr/>
              <p:nvPr/>
            </p:nvSpPr>
            <p:spPr>
              <a:xfrm>
                <a:off x="-2913577" y="780691"/>
                <a:ext cx="17597" cy="17592"/>
              </a:xfrm>
              <a:custGeom>
                <a:avLst/>
                <a:gdLst>
                  <a:gd name="connsiteX0" fmla="*/ 0 w 17597"/>
                  <a:gd name="connsiteY0" fmla="*/ 8796 h 17592"/>
                  <a:gd name="connsiteX1" fmla="*/ 8799 w 17597"/>
                  <a:gd name="connsiteY1" fmla="*/ 17593 h 17592"/>
                  <a:gd name="connsiteX2" fmla="*/ 17597 w 17597"/>
                  <a:gd name="connsiteY2" fmla="*/ 8796 h 17592"/>
                  <a:gd name="connsiteX3" fmla="*/ 8799 w 17597"/>
                  <a:gd name="connsiteY3" fmla="*/ 0 h 17592"/>
                  <a:gd name="connsiteX4" fmla="*/ 0 w 17597"/>
                  <a:gd name="connsiteY4" fmla="*/ 8796 h 17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597" h="17592">
                    <a:moveTo>
                      <a:pt x="0" y="8796"/>
                    </a:moveTo>
                    <a:cubicBezTo>
                      <a:pt x="0" y="13653"/>
                      <a:pt x="3941" y="17593"/>
                      <a:pt x="8799" y="17593"/>
                    </a:cubicBezTo>
                    <a:cubicBezTo>
                      <a:pt x="13656" y="17593"/>
                      <a:pt x="17597" y="13653"/>
                      <a:pt x="17597" y="8796"/>
                    </a:cubicBezTo>
                    <a:cubicBezTo>
                      <a:pt x="17597" y="3940"/>
                      <a:pt x="13656" y="0"/>
                      <a:pt x="8799" y="0"/>
                    </a:cubicBezTo>
                    <a:cubicBezTo>
                      <a:pt x="3941" y="0"/>
                      <a:pt x="0" y="3940"/>
                      <a:pt x="0" y="8796"/>
                    </a:cubicBezTo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7" name="Freihandform 556">
                <a:extLst>
                  <a:ext uri="{FF2B5EF4-FFF2-40B4-BE49-F238E27FC236}">
                    <a16:creationId xmlns:a16="http://schemas.microsoft.com/office/drawing/2014/main" id="{4335720B-BFAC-4049-8368-4BAB4E9231C1}"/>
                  </a:ext>
                </a:extLst>
              </p:cNvPr>
              <p:cNvSpPr/>
              <p:nvPr/>
            </p:nvSpPr>
            <p:spPr>
              <a:xfrm>
                <a:off x="-2919915" y="783318"/>
                <a:ext cx="13181" cy="6766"/>
              </a:xfrm>
              <a:custGeom>
                <a:avLst/>
                <a:gdLst>
                  <a:gd name="connsiteX0" fmla="*/ 12815 w 13181"/>
                  <a:gd name="connsiteY0" fmla="*/ 0 h 6766"/>
                  <a:gd name="connsiteX1" fmla="*/ 1206 w 13181"/>
                  <a:gd name="connsiteY1" fmla="*/ 1955 h 6766"/>
                  <a:gd name="connsiteX2" fmla="*/ 1939 w 13181"/>
                  <a:gd name="connsiteY2" fmla="*/ 6353 h 6766"/>
                  <a:gd name="connsiteX3" fmla="*/ 13182 w 13181"/>
                  <a:gd name="connsiteY3" fmla="*/ 6658 h 6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181" h="6766">
                    <a:moveTo>
                      <a:pt x="12815" y="0"/>
                    </a:moveTo>
                    <a:cubicBezTo>
                      <a:pt x="9045" y="1142"/>
                      <a:pt x="5141" y="1796"/>
                      <a:pt x="1206" y="1955"/>
                    </a:cubicBezTo>
                    <a:cubicBezTo>
                      <a:pt x="-749" y="1222"/>
                      <a:pt x="-199" y="5620"/>
                      <a:pt x="1939" y="6353"/>
                    </a:cubicBezTo>
                    <a:cubicBezTo>
                      <a:pt x="5672" y="6768"/>
                      <a:pt x="9430" y="6872"/>
                      <a:pt x="13182" y="6658"/>
                    </a:cubicBezTo>
                    <a:close/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8" name="Freihandform 557">
                <a:extLst>
                  <a:ext uri="{FF2B5EF4-FFF2-40B4-BE49-F238E27FC236}">
                    <a16:creationId xmlns:a16="http://schemas.microsoft.com/office/drawing/2014/main" id="{9C45A6B4-E777-244C-96E3-0A6836C09415}"/>
                  </a:ext>
                </a:extLst>
              </p:cNvPr>
              <p:cNvSpPr/>
              <p:nvPr/>
            </p:nvSpPr>
            <p:spPr>
              <a:xfrm>
                <a:off x="-2924052" y="804136"/>
                <a:ext cx="29102" cy="14829"/>
              </a:xfrm>
              <a:custGeom>
                <a:avLst/>
                <a:gdLst>
                  <a:gd name="connsiteX0" fmla="*/ 23490 w 29102"/>
                  <a:gd name="connsiteY0" fmla="*/ 12 h 14829"/>
                  <a:gd name="connsiteX1" fmla="*/ 5160 w 29102"/>
                  <a:gd name="connsiteY1" fmla="*/ 8076 h 14829"/>
                  <a:gd name="connsiteX2" fmla="*/ 577 w 29102"/>
                  <a:gd name="connsiteY2" fmla="*/ 12107 h 14829"/>
                  <a:gd name="connsiteX3" fmla="*/ 2227 w 29102"/>
                  <a:gd name="connsiteY3" fmla="*/ 13573 h 14829"/>
                  <a:gd name="connsiteX4" fmla="*/ 23795 w 29102"/>
                  <a:gd name="connsiteY4" fmla="*/ 9175 h 14829"/>
                  <a:gd name="connsiteX5" fmla="*/ 23307 w 29102"/>
                  <a:gd name="connsiteY5" fmla="*/ 12 h 14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102" h="14829">
                    <a:moveTo>
                      <a:pt x="23490" y="12"/>
                    </a:moveTo>
                    <a:cubicBezTo>
                      <a:pt x="18810" y="5192"/>
                      <a:pt x="12143" y="8131"/>
                      <a:pt x="5160" y="8076"/>
                    </a:cubicBezTo>
                    <a:cubicBezTo>
                      <a:pt x="-950" y="7159"/>
                      <a:pt x="-339" y="10397"/>
                      <a:pt x="577" y="12107"/>
                    </a:cubicBezTo>
                    <a:cubicBezTo>
                      <a:pt x="919" y="12785"/>
                      <a:pt x="1512" y="13311"/>
                      <a:pt x="2227" y="13573"/>
                    </a:cubicBezTo>
                    <a:cubicBezTo>
                      <a:pt x="9675" y="16261"/>
                      <a:pt x="17997" y="14563"/>
                      <a:pt x="23795" y="9175"/>
                    </a:cubicBezTo>
                    <a:cubicBezTo>
                      <a:pt x="36016" y="-721"/>
                      <a:pt x="23307" y="12"/>
                      <a:pt x="23307" y="12"/>
                    </a:cubicBezTo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9" name="Freihandform 558">
                <a:extLst>
                  <a:ext uri="{FF2B5EF4-FFF2-40B4-BE49-F238E27FC236}">
                    <a16:creationId xmlns:a16="http://schemas.microsoft.com/office/drawing/2014/main" id="{B8684F13-77BA-9F4E-BA09-2C3F0287CC70}"/>
                  </a:ext>
                </a:extLst>
              </p:cNvPr>
              <p:cNvSpPr/>
              <p:nvPr/>
            </p:nvSpPr>
            <p:spPr>
              <a:xfrm>
                <a:off x="-2930443" y="813612"/>
                <a:ext cx="11855" cy="10406"/>
              </a:xfrm>
              <a:custGeom>
                <a:avLst/>
                <a:gdLst>
                  <a:gd name="connsiteX0" fmla="*/ 4952 w 11855"/>
                  <a:gd name="connsiteY0" fmla="*/ 6236 h 10406"/>
                  <a:gd name="connsiteX1" fmla="*/ 11734 w 11855"/>
                  <a:gd name="connsiteY1" fmla="*/ 10268 h 10406"/>
                  <a:gd name="connsiteX2" fmla="*/ 7029 w 11855"/>
                  <a:gd name="connsiteY2" fmla="*/ 4159 h 10406"/>
                  <a:gd name="connsiteX3" fmla="*/ 186 w 11855"/>
                  <a:gd name="connsiteY3" fmla="*/ 128 h 10406"/>
                  <a:gd name="connsiteX4" fmla="*/ 3180 w 11855"/>
                  <a:gd name="connsiteY4" fmla="*/ 4770 h 10406"/>
                  <a:gd name="connsiteX5" fmla="*/ 4952 w 11855"/>
                  <a:gd name="connsiteY5" fmla="*/ 6481 h 10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855" h="10406">
                    <a:moveTo>
                      <a:pt x="4952" y="6236"/>
                    </a:moveTo>
                    <a:cubicBezTo>
                      <a:pt x="8129" y="9107"/>
                      <a:pt x="11062" y="10940"/>
                      <a:pt x="11734" y="10268"/>
                    </a:cubicBezTo>
                    <a:cubicBezTo>
                      <a:pt x="12406" y="9596"/>
                      <a:pt x="10206" y="6786"/>
                      <a:pt x="7029" y="4159"/>
                    </a:cubicBezTo>
                    <a:cubicBezTo>
                      <a:pt x="3852" y="1533"/>
                      <a:pt x="919" y="-544"/>
                      <a:pt x="186" y="128"/>
                    </a:cubicBezTo>
                    <a:cubicBezTo>
                      <a:pt x="-547" y="799"/>
                      <a:pt x="980" y="2510"/>
                      <a:pt x="3180" y="4770"/>
                    </a:cubicBezTo>
                    <a:lnTo>
                      <a:pt x="4952" y="6481"/>
                    </a:lnTo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551" name="Freihandform 550">
              <a:extLst>
                <a:ext uri="{FF2B5EF4-FFF2-40B4-BE49-F238E27FC236}">
                  <a16:creationId xmlns:a16="http://schemas.microsoft.com/office/drawing/2014/main" id="{FBE3F774-4812-FE44-A55E-997F5D270049}"/>
                </a:ext>
              </a:extLst>
            </p:cNvPr>
            <p:cNvSpPr/>
            <p:nvPr/>
          </p:nvSpPr>
          <p:spPr>
            <a:xfrm>
              <a:off x="2537417" y="3033260"/>
              <a:ext cx="29395" cy="27792"/>
            </a:xfrm>
            <a:custGeom>
              <a:avLst/>
              <a:gdLst>
                <a:gd name="connsiteX0" fmla="*/ 11243 w 11242"/>
                <a:gd name="connsiteY0" fmla="*/ 2688 h 10629"/>
                <a:gd name="connsiteX1" fmla="*/ 3177 w 11242"/>
                <a:gd name="connsiteY1" fmla="*/ 10629 h 10629"/>
                <a:gd name="connsiteX2" fmla="*/ 0 w 11242"/>
                <a:gd name="connsiteY2" fmla="*/ 6048 h 10629"/>
                <a:gd name="connsiteX3" fmla="*/ 7271 w 11242"/>
                <a:gd name="connsiteY3" fmla="*/ 0 h 10629"/>
                <a:gd name="connsiteX4" fmla="*/ 11243 w 11242"/>
                <a:gd name="connsiteY4" fmla="*/ 2688 h 10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42" h="10629">
                  <a:moveTo>
                    <a:pt x="11243" y="2688"/>
                  </a:moveTo>
                  <a:lnTo>
                    <a:pt x="3177" y="10629"/>
                  </a:lnTo>
                  <a:lnTo>
                    <a:pt x="0" y="6048"/>
                  </a:lnTo>
                  <a:lnTo>
                    <a:pt x="7271" y="0"/>
                  </a:lnTo>
                  <a:lnTo>
                    <a:pt x="11243" y="2688"/>
                  </a:lnTo>
                  <a:close/>
                </a:path>
              </a:pathLst>
            </a:custGeom>
            <a:grpFill/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2" name="Freihandform 551">
              <a:extLst>
                <a:ext uri="{FF2B5EF4-FFF2-40B4-BE49-F238E27FC236}">
                  <a16:creationId xmlns:a16="http://schemas.microsoft.com/office/drawing/2014/main" id="{D3D3245A-8CF6-0741-9300-486E6A94C026}"/>
                </a:ext>
              </a:extLst>
            </p:cNvPr>
            <p:cNvSpPr/>
            <p:nvPr/>
          </p:nvSpPr>
          <p:spPr>
            <a:xfrm>
              <a:off x="2465362" y="2910591"/>
              <a:ext cx="278947" cy="270256"/>
            </a:xfrm>
            <a:custGeom>
              <a:avLst/>
              <a:gdLst>
                <a:gd name="connsiteX0" fmla="*/ 32445 w 106682"/>
                <a:gd name="connsiteY0" fmla="*/ 51374 h 103358"/>
                <a:gd name="connsiteX1" fmla="*/ 32445 w 106682"/>
                <a:gd name="connsiteY1" fmla="*/ 68661 h 103358"/>
                <a:gd name="connsiteX2" fmla="*/ 41793 w 106682"/>
                <a:gd name="connsiteY2" fmla="*/ 54917 h 103358"/>
                <a:gd name="connsiteX3" fmla="*/ 80714 w 106682"/>
                <a:gd name="connsiteY3" fmla="*/ 54917 h 103358"/>
                <a:gd name="connsiteX4" fmla="*/ 80164 w 106682"/>
                <a:gd name="connsiteY4" fmla="*/ 6048 h 103358"/>
                <a:gd name="connsiteX5" fmla="*/ 42832 w 106682"/>
                <a:gd name="connsiteY5" fmla="*/ 6048 h 103358"/>
                <a:gd name="connsiteX6" fmla="*/ 25601 w 106682"/>
                <a:gd name="connsiteY6" fmla="*/ 51435 h 103358"/>
                <a:gd name="connsiteX7" fmla="*/ 3788 w 106682"/>
                <a:gd name="connsiteY7" fmla="*/ 71105 h 103358"/>
                <a:gd name="connsiteX8" fmla="*/ 3788 w 106682"/>
                <a:gd name="connsiteY8" fmla="*/ 916 h 103358"/>
                <a:gd name="connsiteX9" fmla="*/ 8188 w 106682"/>
                <a:gd name="connsiteY9" fmla="*/ 916 h 103358"/>
                <a:gd name="connsiteX10" fmla="*/ 8188 w 106682"/>
                <a:gd name="connsiteY10" fmla="*/ 72204 h 103358"/>
                <a:gd name="connsiteX11" fmla="*/ 10326 w 106682"/>
                <a:gd name="connsiteY11" fmla="*/ 72204 h 103358"/>
                <a:gd name="connsiteX12" fmla="*/ 10326 w 106682"/>
                <a:gd name="connsiteY12" fmla="*/ 87721 h 103358"/>
                <a:gd name="connsiteX13" fmla="*/ 14848 w 106682"/>
                <a:gd name="connsiteY13" fmla="*/ 87721 h 103358"/>
                <a:gd name="connsiteX14" fmla="*/ 14848 w 106682"/>
                <a:gd name="connsiteY14" fmla="*/ 87721 h 103358"/>
                <a:gd name="connsiteX15" fmla="*/ 14848 w 106682"/>
                <a:gd name="connsiteY15" fmla="*/ 61087 h 103358"/>
                <a:gd name="connsiteX16" fmla="*/ 38310 w 106682"/>
                <a:gd name="connsiteY16" fmla="*/ 0 h 103358"/>
                <a:gd name="connsiteX17" fmla="*/ 85480 w 106682"/>
                <a:gd name="connsiteY17" fmla="*/ 0 h 103358"/>
                <a:gd name="connsiteX18" fmla="*/ 85480 w 106682"/>
                <a:gd name="connsiteY18" fmla="*/ 63713 h 103358"/>
                <a:gd name="connsiteX19" fmla="*/ 100939 w 106682"/>
                <a:gd name="connsiteY19" fmla="*/ 63713 h 103358"/>
                <a:gd name="connsiteX20" fmla="*/ 100939 w 106682"/>
                <a:gd name="connsiteY20" fmla="*/ 75931 h 103358"/>
                <a:gd name="connsiteX21" fmla="*/ 106682 w 106682"/>
                <a:gd name="connsiteY21" fmla="*/ 75931 h 103358"/>
                <a:gd name="connsiteX22" fmla="*/ 106682 w 106682"/>
                <a:gd name="connsiteY22" fmla="*/ 103359 h 103358"/>
                <a:gd name="connsiteX23" fmla="*/ 99778 w 106682"/>
                <a:gd name="connsiteY23" fmla="*/ 103359 h 103358"/>
                <a:gd name="connsiteX24" fmla="*/ 86702 w 106682"/>
                <a:gd name="connsiteY24" fmla="*/ 96212 h 103358"/>
                <a:gd name="connsiteX25" fmla="*/ 73565 w 106682"/>
                <a:gd name="connsiteY25" fmla="*/ 103359 h 103358"/>
                <a:gd name="connsiteX26" fmla="*/ 38982 w 106682"/>
                <a:gd name="connsiteY26" fmla="*/ 103359 h 103358"/>
                <a:gd name="connsiteX27" fmla="*/ 17548 w 106682"/>
                <a:gd name="connsiteY27" fmla="*/ 98643 h 103358"/>
                <a:gd name="connsiteX28" fmla="*/ 12831 w 106682"/>
                <a:gd name="connsiteY28" fmla="*/ 103359 h 103358"/>
                <a:gd name="connsiteX29" fmla="*/ 4277 w 106682"/>
                <a:gd name="connsiteY29" fmla="*/ 103359 h 103358"/>
                <a:gd name="connsiteX30" fmla="*/ 0 w 106682"/>
                <a:gd name="connsiteY30" fmla="*/ 99327 h 103358"/>
                <a:gd name="connsiteX31" fmla="*/ 0 w 106682"/>
                <a:gd name="connsiteY31" fmla="*/ 71838 h 103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06682" h="103358">
                  <a:moveTo>
                    <a:pt x="32445" y="51374"/>
                  </a:moveTo>
                  <a:lnTo>
                    <a:pt x="32445" y="68661"/>
                  </a:lnTo>
                  <a:lnTo>
                    <a:pt x="41793" y="54917"/>
                  </a:lnTo>
                  <a:lnTo>
                    <a:pt x="80714" y="54917"/>
                  </a:lnTo>
                  <a:lnTo>
                    <a:pt x="80164" y="6048"/>
                  </a:lnTo>
                  <a:lnTo>
                    <a:pt x="42832" y="6048"/>
                  </a:lnTo>
                  <a:lnTo>
                    <a:pt x="25601" y="51435"/>
                  </a:lnTo>
                  <a:close/>
                  <a:moveTo>
                    <a:pt x="3788" y="71105"/>
                  </a:moveTo>
                  <a:lnTo>
                    <a:pt x="3788" y="916"/>
                  </a:lnTo>
                  <a:lnTo>
                    <a:pt x="8188" y="916"/>
                  </a:lnTo>
                  <a:lnTo>
                    <a:pt x="8188" y="72204"/>
                  </a:lnTo>
                  <a:lnTo>
                    <a:pt x="10326" y="72204"/>
                  </a:lnTo>
                  <a:lnTo>
                    <a:pt x="10326" y="87721"/>
                  </a:lnTo>
                  <a:cubicBezTo>
                    <a:pt x="11829" y="87586"/>
                    <a:pt x="13344" y="87586"/>
                    <a:pt x="14848" y="87721"/>
                  </a:cubicBezTo>
                  <a:lnTo>
                    <a:pt x="14848" y="87721"/>
                  </a:lnTo>
                  <a:cubicBezTo>
                    <a:pt x="14481" y="85888"/>
                    <a:pt x="14848" y="61087"/>
                    <a:pt x="14848" y="61087"/>
                  </a:cubicBezTo>
                  <a:lnTo>
                    <a:pt x="38310" y="0"/>
                  </a:lnTo>
                  <a:lnTo>
                    <a:pt x="85480" y="0"/>
                  </a:lnTo>
                  <a:lnTo>
                    <a:pt x="85480" y="63713"/>
                  </a:lnTo>
                  <a:lnTo>
                    <a:pt x="100939" y="63713"/>
                  </a:lnTo>
                  <a:lnTo>
                    <a:pt x="100939" y="75931"/>
                  </a:lnTo>
                  <a:lnTo>
                    <a:pt x="106682" y="75931"/>
                  </a:lnTo>
                  <a:lnTo>
                    <a:pt x="106682" y="103359"/>
                  </a:lnTo>
                  <a:lnTo>
                    <a:pt x="99778" y="103359"/>
                  </a:lnTo>
                  <a:cubicBezTo>
                    <a:pt x="96924" y="98905"/>
                    <a:pt x="91993" y="96212"/>
                    <a:pt x="86702" y="96212"/>
                  </a:cubicBezTo>
                  <a:cubicBezTo>
                    <a:pt x="81399" y="96224"/>
                    <a:pt x="76456" y="98912"/>
                    <a:pt x="73565" y="103359"/>
                  </a:cubicBezTo>
                  <a:lnTo>
                    <a:pt x="38982" y="103359"/>
                  </a:lnTo>
                  <a:cubicBezTo>
                    <a:pt x="34363" y="96138"/>
                    <a:pt x="24770" y="94031"/>
                    <a:pt x="17548" y="98643"/>
                  </a:cubicBezTo>
                  <a:cubicBezTo>
                    <a:pt x="15654" y="99858"/>
                    <a:pt x="14041" y="101465"/>
                    <a:pt x="12831" y="103359"/>
                  </a:cubicBezTo>
                  <a:lnTo>
                    <a:pt x="4277" y="103359"/>
                  </a:lnTo>
                  <a:lnTo>
                    <a:pt x="0" y="99327"/>
                  </a:lnTo>
                  <a:lnTo>
                    <a:pt x="0" y="71838"/>
                  </a:lnTo>
                  <a:close/>
                </a:path>
              </a:pathLst>
            </a:custGeom>
            <a:grpFill/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3" name="Freihandform 552">
              <a:extLst>
                <a:ext uri="{FF2B5EF4-FFF2-40B4-BE49-F238E27FC236}">
                  <a16:creationId xmlns:a16="http://schemas.microsoft.com/office/drawing/2014/main" id="{9D1E309A-8CDD-2941-854A-EB7D59B96E3A}"/>
                </a:ext>
              </a:extLst>
            </p:cNvPr>
            <p:cNvSpPr/>
            <p:nvPr/>
          </p:nvSpPr>
          <p:spPr>
            <a:xfrm>
              <a:off x="2499393" y="3168550"/>
              <a:ext cx="67738" cy="67722"/>
            </a:xfrm>
            <a:custGeom>
              <a:avLst/>
              <a:gdLst>
                <a:gd name="connsiteX0" fmla="*/ 12953 w 25906"/>
                <a:gd name="connsiteY0" fmla="*/ 18326 h 25900"/>
                <a:gd name="connsiteX1" fmla="*/ 18086 w 25906"/>
                <a:gd name="connsiteY1" fmla="*/ 13195 h 25900"/>
                <a:gd name="connsiteX2" fmla="*/ 12953 w 25906"/>
                <a:gd name="connsiteY2" fmla="*/ 8063 h 25900"/>
                <a:gd name="connsiteX3" fmla="*/ 7821 w 25906"/>
                <a:gd name="connsiteY3" fmla="*/ 13195 h 25900"/>
                <a:gd name="connsiteX4" fmla="*/ 12953 w 25906"/>
                <a:gd name="connsiteY4" fmla="*/ 18326 h 25900"/>
                <a:gd name="connsiteX5" fmla="*/ 12953 w 25906"/>
                <a:gd name="connsiteY5" fmla="*/ 0 h 25900"/>
                <a:gd name="connsiteX6" fmla="*/ 25907 w 25906"/>
                <a:gd name="connsiteY6" fmla="*/ 12950 h 25900"/>
                <a:gd name="connsiteX7" fmla="*/ 12953 w 25906"/>
                <a:gd name="connsiteY7" fmla="*/ 25901 h 25900"/>
                <a:gd name="connsiteX8" fmla="*/ 0 w 25906"/>
                <a:gd name="connsiteY8" fmla="*/ 12950 h 25900"/>
                <a:gd name="connsiteX9" fmla="*/ 12953 w 25906"/>
                <a:gd name="connsiteY9" fmla="*/ 0 h 2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906" h="25900">
                  <a:moveTo>
                    <a:pt x="12953" y="18326"/>
                  </a:moveTo>
                  <a:cubicBezTo>
                    <a:pt x="15788" y="18326"/>
                    <a:pt x="18086" y="16029"/>
                    <a:pt x="18086" y="13195"/>
                  </a:cubicBezTo>
                  <a:cubicBezTo>
                    <a:pt x="18086" y="10360"/>
                    <a:pt x="15788" y="8063"/>
                    <a:pt x="12953" y="8063"/>
                  </a:cubicBezTo>
                  <a:cubicBezTo>
                    <a:pt x="10118" y="8063"/>
                    <a:pt x="7821" y="10360"/>
                    <a:pt x="7821" y="13195"/>
                  </a:cubicBezTo>
                  <a:cubicBezTo>
                    <a:pt x="7821" y="16029"/>
                    <a:pt x="10118" y="18326"/>
                    <a:pt x="12953" y="18326"/>
                  </a:cubicBezTo>
                  <a:moveTo>
                    <a:pt x="12953" y="0"/>
                  </a:moveTo>
                  <a:cubicBezTo>
                    <a:pt x="20108" y="0"/>
                    <a:pt x="25907" y="5797"/>
                    <a:pt x="25907" y="12950"/>
                  </a:cubicBezTo>
                  <a:cubicBezTo>
                    <a:pt x="25907" y="20104"/>
                    <a:pt x="20108" y="25901"/>
                    <a:pt x="12953" y="25901"/>
                  </a:cubicBezTo>
                  <a:cubicBezTo>
                    <a:pt x="5799" y="25901"/>
                    <a:pt x="0" y="20104"/>
                    <a:pt x="0" y="12950"/>
                  </a:cubicBezTo>
                  <a:cubicBezTo>
                    <a:pt x="0" y="5797"/>
                    <a:pt x="5799" y="0"/>
                    <a:pt x="12953" y="0"/>
                  </a:cubicBezTo>
                </a:path>
              </a:pathLst>
            </a:custGeom>
            <a:grpFill/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4" name="Freihandform 553">
              <a:extLst>
                <a:ext uri="{FF2B5EF4-FFF2-40B4-BE49-F238E27FC236}">
                  <a16:creationId xmlns:a16="http://schemas.microsoft.com/office/drawing/2014/main" id="{B455B00E-C76E-F44F-9691-41A30048C222}"/>
                </a:ext>
              </a:extLst>
            </p:cNvPr>
            <p:cNvSpPr/>
            <p:nvPr/>
          </p:nvSpPr>
          <p:spPr>
            <a:xfrm>
              <a:off x="2658357" y="3168550"/>
              <a:ext cx="67738" cy="67722"/>
            </a:xfrm>
            <a:custGeom>
              <a:avLst/>
              <a:gdLst>
                <a:gd name="connsiteX0" fmla="*/ 12953 w 25906"/>
                <a:gd name="connsiteY0" fmla="*/ 18326 h 25900"/>
                <a:gd name="connsiteX1" fmla="*/ 18086 w 25906"/>
                <a:gd name="connsiteY1" fmla="*/ 13195 h 25900"/>
                <a:gd name="connsiteX2" fmla="*/ 12953 w 25906"/>
                <a:gd name="connsiteY2" fmla="*/ 8063 h 25900"/>
                <a:gd name="connsiteX3" fmla="*/ 7821 w 25906"/>
                <a:gd name="connsiteY3" fmla="*/ 13195 h 25900"/>
                <a:gd name="connsiteX4" fmla="*/ 12953 w 25906"/>
                <a:gd name="connsiteY4" fmla="*/ 18326 h 25900"/>
                <a:gd name="connsiteX5" fmla="*/ 12953 w 25906"/>
                <a:gd name="connsiteY5" fmla="*/ 0 h 25900"/>
                <a:gd name="connsiteX6" fmla="*/ 25907 w 25906"/>
                <a:gd name="connsiteY6" fmla="*/ 12950 h 25900"/>
                <a:gd name="connsiteX7" fmla="*/ 12953 w 25906"/>
                <a:gd name="connsiteY7" fmla="*/ 25901 h 25900"/>
                <a:gd name="connsiteX8" fmla="*/ 0 w 25906"/>
                <a:gd name="connsiteY8" fmla="*/ 12950 h 25900"/>
                <a:gd name="connsiteX9" fmla="*/ 12953 w 25906"/>
                <a:gd name="connsiteY9" fmla="*/ 0 h 2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906" h="25900">
                  <a:moveTo>
                    <a:pt x="12953" y="18326"/>
                  </a:moveTo>
                  <a:cubicBezTo>
                    <a:pt x="15788" y="18326"/>
                    <a:pt x="18086" y="16029"/>
                    <a:pt x="18086" y="13195"/>
                  </a:cubicBezTo>
                  <a:cubicBezTo>
                    <a:pt x="18086" y="10360"/>
                    <a:pt x="15788" y="8063"/>
                    <a:pt x="12953" y="8063"/>
                  </a:cubicBezTo>
                  <a:cubicBezTo>
                    <a:pt x="10118" y="8063"/>
                    <a:pt x="7821" y="10360"/>
                    <a:pt x="7821" y="13195"/>
                  </a:cubicBezTo>
                  <a:cubicBezTo>
                    <a:pt x="7821" y="16029"/>
                    <a:pt x="10118" y="18326"/>
                    <a:pt x="12953" y="18326"/>
                  </a:cubicBezTo>
                  <a:moveTo>
                    <a:pt x="12953" y="0"/>
                  </a:moveTo>
                  <a:cubicBezTo>
                    <a:pt x="20108" y="0"/>
                    <a:pt x="25907" y="5797"/>
                    <a:pt x="25907" y="12950"/>
                  </a:cubicBezTo>
                  <a:cubicBezTo>
                    <a:pt x="25907" y="20104"/>
                    <a:pt x="20108" y="25901"/>
                    <a:pt x="12953" y="25901"/>
                  </a:cubicBezTo>
                  <a:cubicBezTo>
                    <a:pt x="5799" y="25901"/>
                    <a:pt x="0" y="20104"/>
                    <a:pt x="0" y="12950"/>
                  </a:cubicBezTo>
                  <a:cubicBezTo>
                    <a:pt x="0" y="5797"/>
                    <a:pt x="5799" y="0"/>
                    <a:pt x="12953" y="0"/>
                  </a:cubicBezTo>
                </a:path>
              </a:pathLst>
            </a:custGeom>
            <a:grpFill/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595" name="Textfeld 594">
            <a:extLst>
              <a:ext uri="{FF2B5EF4-FFF2-40B4-BE49-F238E27FC236}">
                <a16:creationId xmlns:a16="http://schemas.microsoft.com/office/drawing/2014/main" id="{83D763A3-A5FA-6A41-A5E8-0398516BAF8C}"/>
              </a:ext>
            </a:extLst>
          </p:cNvPr>
          <p:cNvSpPr txBox="1"/>
          <p:nvPr/>
        </p:nvSpPr>
        <p:spPr>
          <a:xfrm>
            <a:off x="1767690" y="1798947"/>
            <a:ext cx="130516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0" dirty="0" err="1"/>
              <a:t>Velké</a:t>
            </a:r>
            <a:r>
              <a:rPr lang="de-DE" sz="700" dirty="0"/>
              <a:t> (</a:t>
            </a:r>
            <a:r>
              <a:rPr lang="cs-CZ" sz="700" dirty="0"/>
              <a:t>nad</a:t>
            </a:r>
            <a:r>
              <a:rPr lang="de-DE" sz="700" dirty="0"/>
              <a:t>) </a:t>
            </a:r>
            <a:r>
              <a:rPr lang="de-DE" sz="700" dirty="0" err="1"/>
              <a:t>národní</a:t>
            </a:r>
            <a:r>
              <a:rPr lang="de-DE" sz="700" dirty="0"/>
              <a:t> </a:t>
            </a:r>
            <a:r>
              <a:rPr lang="de-DE" sz="700" dirty="0" err="1"/>
              <a:t>výrobní</a:t>
            </a:r>
            <a:r>
              <a:rPr lang="de-DE" sz="700" dirty="0"/>
              <a:t>, </a:t>
            </a:r>
            <a:r>
              <a:rPr lang="de-DE" sz="700" dirty="0" err="1"/>
              <a:t>logistické</a:t>
            </a:r>
            <a:r>
              <a:rPr lang="de-DE" sz="700" dirty="0"/>
              <a:t> a </a:t>
            </a:r>
            <a:r>
              <a:rPr lang="de-DE" sz="700" dirty="0" err="1"/>
              <a:t>servisní</a:t>
            </a:r>
            <a:r>
              <a:rPr lang="de-DE" sz="700" dirty="0"/>
              <a:t> </a:t>
            </a:r>
            <a:r>
              <a:rPr lang="de-DE" sz="700" dirty="0" err="1"/>
              <a:t>společnosti</a:t>
            </a:r>
            <a:endParaRPr lang="de-DE" sz="700" dirty="0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0CDAFED-E425-D943-932F-471FAA7BD460}"/>
              </a:ext>
            </a:extLst>
          </p:cNvPr>
          <p:cNvGrpSpPr/>
          <p:nvPr/>
        </p:nvGrpSpPr>
        <p:grpSpPr>
          <a:xfrm>
            <a:off x="179512" y="1694492"/>
            <a:ext cx="936104" cy="889022"/>
            <a:chOff x="2014426" y="230698"/>
            <a:chExt cx="936104" cy="889022"/>
          </a:xfrm>
        </p:grpSpPr>
        <p:grpSp>
          <p:nvGrpSpPr>
            <p:cNvPr id="473" name="Gruppieren 472">
              <a:extLst>
                <a:ext uri="{FF2B5EF4-FFF2-40B4-BE49-F238E27FC236}">
                  <a16:creationId xmlns:a16="http://schemas.microsoft.com/office/drawing/2014/main" id="{CDAF3590-C497-8440-B417-ADD0AB7FCA8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060529" y="230698"/>
              <a:ext cx="850780" cy="889022"/>
              <a:chOff x="6960794" y="686398"/>
              <a:chExt cx="1880578" cy="1965113"/>
            </a:xfrm>
          </p:grpSpPr>
          <p:sp>
            <p:nvSpPr>
              <p:cNvPr id="474" name="Freihandform 473">
                <a:extLst>
                  <a:ext uri="{FF2B5EF4-FFF2-40B4-BE49-F238E27FC236}">
                    <a16:creationId xmlns:a16="http://schemas.microsoft.com/office/drawing/2014/main" id="{3931643E-D98A-A447-86EE-2BC8AE39A38A}"/>
                  </a:ext>
                </a:extLst>
              </p:cNvPr>
              <p:cNvSpPr/>
              <p:nvPr/>
            </p:nvSpPr>
            <p:spPr>
              <a:xfrm>
                <a:off x="6961113" y="905381"/>
                <a:ext cx="1880259" cy="346447"/>
              </a:xfrm>
              <a:custGeom>
                <a:avLst/>
                <a:gdLst>
                  <a:gd name="connsiteX0" fmla="*/ 680603 w 719096"/>
                  <a:gd name="connsiteY0" fmla="*/ 0 h 132497"/>
                  <a:gd name="connsiteX1" fmla="*/ 626773 w 719096"/>
                  <a:gd name="connsiteY1" fmla="*/ 0 h 132497"/>
                  <a:gd name="connsiteX2" fmla="*/ 626773 w 719096"/>
                  <a:gd name="connsiteY2" fmla="*/ 58338 h 132497"/>
                  <a:gd name="connsiteX3" fmla="*/ 590112 w 719096"/>
                  <a:gd name="connsiteY3" fmla="*/ 94990 h 132497"/>
                  <a:gd name="connsiteX4" fmla="*/ 553452 w 719096"/>
                  <a:gd name="connsiteY4" fmla="*/ 58338 h 132497"/>
                  <a:gd name="connsiteX5" fmla="*/ 553452 w 719096"/>
                  <a:gd name="connsiteY5" fmla="*/ 0 h 132497"/>
                  <a:gd name="connsiteX6" fmla="*/ 165644 w 719096"/>
                  <a:gd name="connsiteY6" fmla="*/ 0 h 132497"/>
                  <a:gd name="connsiteX7" fmla="*/ 165644 w 719096"/>
                  <a:gd name="connsiteY7" fmla="*/ 58338 h 132497"/>
                  <a:gd name="connsiteX8" fmla="*/ 128984 w 719096"/>
                  <a:gd name="connsiteY8" fmla="*/ 94990 h 132497"/>
                  <a:gd name="connsiteX9" fmla="*/ 92323 w 719096"/>
                  <a:gd name="connsiteY9" fmla="*/ 58338 h 132497"/>
                  <a:gd name="connsiteX10" fmla="*/ 92323 w 719096"/>
                  <a:gd name="connsiteY10" fmla="*/ 0 h 132497"/>
                  <a:gd name="connsiteX11" fmla="*/ 38494 w 719096"/>
                  <a:gd name="connsiteY11" fmla="*/ 0 h 132497"/>
                  <a:gd name="connsiteX12" fmla="*/ 0 w 719096"/>
                  <a:gd name="connsiteY12" fmla="*/ 38485 h 132497"/>
                  <a:gd name="connsiteX13" fmla="*/ 0 w 719096"/>
                  <a:gd name="connsiteY13" fmla="*/ 38546 h 132497"/>
                  <a:gd name="connsiteX14" fmla="*/ 0 w 719096"/>
                  <a:gd name="connsiteY14" fmla="*/ 93951 h 132497"/>
                  <a:gd name="connsiteX15" fmla="*/ 38433 w 719096"/>
                  <a:gd name="connsiteY15" fmla="*/ 132497 h 132497"/>
                  <a:gd name="connsiteX16" fmla="*/ 38494 w 719096"/>
                  <a:gd name="connsiteY16" fmla="*/ 132497 h 132497"/>
                  <a:gd name="connsiteX17" fmla="*/ 680603 w 719096"/>
                  <a:gd name="connsiteY17" fmla="*/ 132497 h 132497"/>
                  <a:gd name="connsiteX18" fmla="*/ 719096 w 719096"/>
                  <a:gd name="connsiteY18" fmla="*/ 94012 h 132497"/>
                  <a:gd name="connsiteX19" fmla="*/ 719096 w 719096"/>
                  <a:gd name="connsiteY19" fmla="*/ 93951 h 132497"/>
                  <a:gd name="connsiteX20" fmla="*/ 719096 w 719096"/>
                  <a:gd name="connsiteY20" fmla="*/ 38546 h 132497"/>
                  <a:gd name="connsiteX21" fmla="*/ 680664 w 719096"/>
                  <a:gd name="connsiteY21" fmla="*/ 0 h 132497"/>
                  <a:gd name="connsiteX22" fmla="*/ 680603 w 719096"/>
                  <a:gd name="connsiteY22" fmla="*/ 0 h 132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19096" h="132497">
                    <a:moveTo>
                      <a:pt x="680603" y="0"/>
                    </a:moveTo>
                    <a:lnTo>
                      <a:pt x="626773" y="0"/>
                    </a:lnTo>
                    <a:lnTo>
                      <a:pt x="626773" y="58338"/>
                    </a:lnTo>
                    <a:cubicBezTo>
                      <a:pt x="626773" y="78580"/>
                      <a:pt x="610361" y="94990"/>
                      <a:pt x="590112" y="94990"/>
                    </a:cubicBezTo>
                    <a:cubicBezTo>
                      <a:pt x="569863" y="94990"/>
                      <a:pt x="553452" y="78580"/>
                      <a:pt x="553452" y="58338"/>
                    </a:cubicBezTo>
                    <a:lnTo>
                      <a:pt x="553452" y="0"/>
                    </a:lnTo>
                    <a:lnTo>
                      <a:pt x="165644" y="0"/>
                    </a:lnTo>
                    <a:lnTo>
                      <a:pt x="165644" y="58338"/>
                    </a:lnTo>
                    <a:cubicBezTo>
                      <a:pt x="165644" y="78580"/>
                      <a:pt x="149233" y="94990"/>
                      <a:pt x="128984" y="94990"/>
                    </a:cubicBezTo>
                    <a:cubicBezTo>
                      <a:pt x="108735" y="94990"/>
                      <a:pt x="92323" y="78580"/>
                      <a:pt x="92323" y="58338"/>
                    </a:cubicBezTo>
                    <a:lnTo>
                      <a:pt x="92323" y="0"/>
                    </a:lnTo>
                    <a:lnTo>
                      <a:pt x="38494" y="0"/>
                    </a:lnTo>
                    <a:cubicBezTo>
                      <a:pt x="17237" y="0"/>
                      <a:pt x="0" y="17230"/>
                      <a:pt x="0" y="38485"/>
                    </a:cubicBezTo>
                    <a:cubicBezTo>
                      <a:pt x="0" y="38505"/>
                      <a:pt x="0" y="38526"/>
                      <a:pt x="0" y="38546"/>
                    </a:cubicBezTo>
                    <a:lnTo>
                      <a:pt x="0" y="93951"/>
                    </a:lnTo>
                    <a:cubicBezTo>
                      <a:pt x="-37" y="115206"/>
                      <a:pt x="17176" y="132463"/>
                      <a:pt x="38433" y="132497"/>
                    </a:cubicBezTo>
                    <a:cubicBezTo>
                      <a:pt x="38451" y="132497"/>
                      <a:pt x="38475" y="132497"/>
                      <a:pt x="38494" y="132497"/>
                    </a:cubicBezTo>
                    <a:lnTo>
                      <a:pt x="680603" y="132497"/>
                    </a:lnTo>
                    <a:cubicBezTo>
                      <a:pt x="701860" y="132497"/>
                      <a:pt x="719096" y="115267"/>
                      <a:pt x="719096" y="94012"/>
                    </a:cubicBezTo>
                    <a:cubicBezTo>
                      <a:pt x="719096" y="93992"/>
                      <a:pt x="719096" y="93971"/>
                      <a:pt x="719096" y="93951"/>
                    </a:cubicBezTo>
                    <a:lnTo>
                      <a:pt x="719096" y="38546"/>
                    </a:lnTo>
                    <a:cubicBezTo>
                      <a:pt x="719127" y="17291"/>
                      <a:pt x="701920" y="34"/>
                      <a:pt x="680664" y="0"/>
                    </a:cubicBezTo>
                    <a:cubicBezTo>
                      <a:pt x="680645" y="0"/>
                      <a:pt x="680621" y="0"/>
                      <a:pt x="680603" y="0"/>
                    </a:cubicBezTo>
                  </a:path>
                </a:pathLst>
              </a:custGeom>
              <a:solidFill>
                <a:schemeClr val="tx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5" name="Freihandform 474">
                <a:extLst>
                  <a:ext uri="{FF2B5EF4-FFF2-40B4-BE49-F238E27FC236}">
                    <a16:creationId xmlns:a16="http://schemas.microsoft.com/office/drawing/2014/main" id="{2D9E49B4-1CB4-934C-8196-33D21B6CD12E}"/>
                  </a:ext>
                </a:extLst>
              </p:cNvPr>
              <p:cNvSpPr/>
              <p:nvPr/>
            </p:nvSpPr>
            <p:spPr>
              <a:xfrm>
                <a:off x="7233669" y="686398"/>
                <a:ext cx="126371" cy="425865"/>
              </a:xfrm>
              <a:custGeom>
                <a:avLst/>
                <a:gdLst>
                  <a:gd name="connsiteX0" fmla="*/ 24440 w 48330"/>
                  <a:gd name="connsiteY0" fmla="*/ 244 h 162870"/>
                  <a:gd name="connsiteX1" fmla="*/ 0 w 48330"/>
                  <a:gd name="connsiteY1" fmla="*/ 24679 h 162870"/>
                  <a:gd name="connsiteX2" fmla="*/ 0 w 48330"/>
                  <a:gd name="connsiteY2" fmla="*/ 142088 h 162870"/>
                  <a:gd name="connsiteX3" fmla="*/ 27819 w 48330"/>
                  <a:gd name="connsiteY3" fmla="*/ 162593 h 162870"/>
                  <a:gd name="connsiteX4" fmla="*/ 48331 w 48330"/>
                  <a:gd name="connsiteY4" fmla="*/ 142088 h 162870"/>
                  <a:gd name="connsiteX5" fmla="*/ 48331 w 48330"/>
                  <a:gd name="connsiteY5" fmla="*/ 24435 h 162870"/>
                  <a:gd name="connsiteX6" fmla="*/ 23890 w 48330"/>
                  <a:gd name="connsiteY6" fmla="*/ 0 h 16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330" h="162870">
                    <a:moveTo>
                      <a:pt x="24440" y="244"/>
                    </a:moveTo>
                    <a:cubicBezTo>
                      <a:pt x="10943" y="244"/>
                      <a:pt x="0" y="11184"/>
                      <a:pt x="0" y="24679"/>
                    </a:cubicBezTo>
                    <a:lnTo>
                      <a:pt x="0" y="142088"/>
                    </a:lnTo>
                    <a:cubicBezTo>
                      <a:pt x="2016" y="155431"/>
                      <a:pt x="14475" y="164611"/>
                      <a:pt x="27819" y="162593"/>
                    </a:cubicBezTo>
                    <a:cubicBezTo>
                      <a:pt x="38414" y="160990"/>
                      <a:pt x="46730" y="152678"/>
                      <a:pt x="48331" y="142088"/>
                    </a:cubicBezTo>
                    <a:lnTo>
                      <a:pt x="48331" y="24435"/>
                    </a:lnTo>
                    <a:cubicBezTo>
                      <a:pt x="48331" y="10940"/>
                      <a:pt x="37388" y="0"/>
                      <a:pt x="23890" y="0"/>
                    </a:cubicBezTo>
                  </a:path>
                </a:pathLst>
              </a:custGeom>
              <a:solidFill>
                <a:schemeClr val="accent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6" name="Freihandform 475">
                <a:extLst>
                  <a:ext uri="{FF2B5EF4-FFF2-40B4-BE49-F238E27FC236}">
                    <a16:creationId xmlns:a16="http://schemas.microsoft.com/office/drawing/2014/main" id="{F470D769-1A96-814D-AF60-21D47A4C43B5}"/>
                  </a:ext>
                </a:extLst>
              </p:cNvPr>
              <p:cNvSpPr/>
              <p:nvPr/>
            </p:nvSpPr>
            <p:spPr>
              <a:xfrm>
                <a:off x="8440046" y="686398"/>
                <a:ext cx="126371" cy="425865"/>
              </a:xfrm>
              <a:custGeom>
                <a:avLst/>
                <a:gdLst>
                  <a:gd name="connsiteX0" fmla="*/ 24440 w 48330"/>
                  <a:gd name="connsiteY0" fmla="*/ 244 h 162870"/>
                  <a:gd name="connsiteX1" fmla="*/ 0 w 48330"/>
                  <a:gd name="connsiteY1" fmla="*/ 24679 h 162870"/>
                  <a:gd name="connsiteX2" fmla="*/ 0 w 48330"/>
                  <a:gd name="connsiteY2" fmla="*/ 142088 h 162870"/>
                  <a:gd name="connsiteX3" fmla="*/ 27819 w 48330"/>
                  <a:gd name="connsiteY3" fmla="*/ 162593 h 162870"/>
                  <a:gd name="connsiteX4" fmla="*/ 48331 w 48330"/>
                  <a:gd name="connsiteY4" fmla="*/ 142088 h 162870"/>
                  <a:gd name="connsiteX5" fmla="*/ 48331 w 48330"/>
                  <a:gd name="connsiteY5" fmla="*/ 24435 h 162870"/>
                  <a:gd name="connsiteX6" fmla="*/ 23890 w 48330"/>
                  <a:gd name="connsiteY6" fmla="*/ 0 h 16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330" h="162870">
                    <a:moveTo>
                      <a:pt x="24440" y="244"/>
                    </a:moveTo>
                    <a:cubicBezTo>
                      <a:pt x="10943" y="244"/>
                      <a:pt x="0" y="11184"/>
                      <a:pt x="0" y="24679"/>
                    </a:cubicBezTo>
                    <a:lnTo>
                      <a:pt x="0" y="142088"/>
                    </a:lnTo>
                    <a:cubicBezTo>
                      <a:pt x="2016" y="155431"/>
                      <a:pt x="14475" y="164611"/>
                      <a:pt x="27819" y="162593"/>
                    </a:cubicBezTo>
                    <a:cubicBezTo>
                      <a:pt x="38414" y="160990"/>
                      <a:pt x="46730" y="152678"/>
                      <a:pt x="48331" y="142088"/>
                    </a:cubicBezTo>
                    <a:lnTo>
                      <a:pt x="48331" y="24435"/>
                    </a:lnTo>
                    <a:cubicBezTo>
                      <a:pt x="48331" y="10940"/>
                      <a:pt x="37388" y="0"/>
                      <a:pt x="23890" y="0"/>
                    </a:cubicBezTo>
                  </a:path>
                </a:pathLst>
              </a:custGeom>
              <a:solidFill>
                <a:schemeClr val="accent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7" name="Freihandform 476">
                <a:extLst>
                  <a:ext uri="{FF2B5EF4-FFF2-40B4-BE49-F238E27FC236}">
                    <a16:creationId xmlns:a16="http://schemas.microsoft.com/office/drawing/2014/main" id="{927F989B-84B0-6F42-911D-4017563453D4}"/>
                  </a:ext>
                </a:extLst>
              </p:cNvPr>
              <p:cNvSpPr/>
              <p:nvPr/>
            </p:nvSpPr>
            <p:spPr>
              <a:xfrm>
                <a:off x="6960794" y="1316039"/>
                <a:ext cx="1880578" cy="1335472"/>
              </a:xfrm>
              <a:custGeom>
                <a:avLst/>
                <a:gdLst>
                  <a:gd name="connsiteX0" fmla="*/ 660378 w 719218"/>
                  <a:gd name="connsiteY0" fmla="*/ 156443 h 510745"/>
                  <a:gd name="connsiteX1" fmla="*/ 517830 w 719218"/>
                  <a:gd name="connsiteY1" fmla="*/ 156443 h 510745"/>
                  <a:gd name="connsiteX2" fmla="*/ 517830 w 719218"/>
                  <a:gd name="connsiteY2" fmla="*/ 63164 h 510745"/>
                  <a:gd name="connsiteX3" fmla="*/ 660378 w 719218"/>
                  <a:gd name="connsiteY3" fmla="*/ 63164 h 510745"/>
                  <a:gd name="connsiteX4" fmla="*/ 426178 w 719218"/>
                  <a:gd name="connsiteY4" fmla="*/ 156443 h 510745"/>
                  <a:gd name="connsiteX5" fmla="*/ 283630 w 719218"/>
                  <a:gd name="connsiteY5" fmla="*/ 156443 h 510745"/>
                  <a:gd name="connsiteX6" fmla="*/ 283630 w 719218"/>
                  <a:gd name="connsiteY6" fmla="*/ 63164 h 510745"/>
                  <a:gd name="connsiteX7" fmla="*/ 426117 w 719218"/>
                  <a:gd name="connsiteY7" fmla="*/ 63164 h 510745"/>
                  <a:gd name="connsiteX8" fmla="*/ 191979 w 719218"/>
                  <a:gd name="connsiteY8" fmla="*/ 156443 h 510745"/>
                  <a:gd name="connsiteX9" fmla="*/ 49369 w 719218"/>
                  <a:gd name="connsiteY9" fmla="*/ 156443 h 510745"/>
                  <a:gd name="connsiteX10" fmla="*/ 49369 w 719218"/>
                  <a:gd name="connsiteY10" fmla="*/ 63164 h 510745"/>
                  <a:gd name="connsiteX11" fmla="*/ 191796 w 719218"/>
                  <a:gd name="connsiteY11" fmla="*/ 63164 h 510745"/>
                  <a:gd name="connsiteX12" fmla="*/ 680786 w 719218"/>
                  <a:gd name="connsiteY12" fmla="*/ 0 h 510745"/>
                  <a:gd name="connsiteX13" fmla="*/ 38493 w 719218"/>
                  <a:gd name="connsiteY13" fmla="*/ 0 h 510745"/>
                  <a:gd name="connsiteX14" fmla="*/ 0 w 719218"/>
                  <a:gd name="connsiteY14" fmla="*/ 38485 h 510745"/>
                  <a:gd name="connsiteX15" fmla="*/ 0 w 719218"/>
                  <a:gd name="connsiteY15" fmla="*/ 472200 h 510745"/>
                  <a:gd name="connsiteX16" fmla="*/ 38493 w 719218"/>
                  <a:gd name="connsiteY16" fmla="*/ 510746 h 510745"/>
                  <a:gd name="connsiteX17" fmla="*/ 680725 w 719218"/>
                  <a:gd name="connsiteY17" fmla="*/ 510746 h 510745"/>
                  <a:gd name="connsiteX18" fmla="*/ 719218 w 719218"/>
                  <a:gd name="connsiteY18" fmla="*/ 472200 h 510745"/>
                  <a:gd name="connsiteX19" fmla="*/ 719218 w 719218"/>
                  <a:gd name="connsiteY19" fmla="*/ 38485 h 510745"/>
                  <a:gd name="connsiteX20" fmla="*/ 680725 w 719218"/>
                  <a:gd name="connsiteY20" fmla="*/ 0 h 510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19218" h="510745">
                    <a:moveTo>
                      <a:pt x="660378" y="156443"/>
                    </a:moveTo>
                    <a:lnTo>
                      <a:pt x="517830" y="156443"/>
                    </a:lnTo>
                    <a:lnTo>
                      <a:pt x="517830" y="63164"/>
                    </a:lnTo>
                    <a:lnTo>
                      <a:pt x="660378" y="63164"/>
                    </a:lnTo>
                    <a:close/>
                    <a:moveTo>
                      <a:pt x="426178" y="156443"/>
                    </a:moveTo>
                    <a:lnTo>
                      <a:pt x="283630" y="156443"/>
                    </a:lnTo>
                    <a:lnTo>
                      <a:pt x="283630" y="63164"/>
                    </a:lnTo>
                    <a:lnTo>
                      <a:pt x="426117" y="63164"/>
                    </a:lnTo>
                    <a:close/>
                    <a:moveTo>
                      <a:pt x="191979" y="156443"/>
                    </a:moveTo>
                    <a:lnTo>
                      <a:pt x="49369" y="156443"/>
                    </a:lnTo>
                    <a:lnTo>
                      <a:pt x="49369" y="63164"/>
                    </a:lnTo>
                    <a:lnTo>
                      <a:pt x="191796" y="63164"/>
                    </a:lnTo>
                    <a:close/>
                    <a:moveTo>
                      <a:pt x="680786" y="0"/>
                    </a:moveTo>
                    <a:lnTo>
                      <a:pt x="38493" y="0"/>
                    </a:lnTo>
                    <a:cubicBezTo>
                      <a:pt x="17236" y="0"/>
                      <a:pt x="0" y="17230"/>
                      <a:pt x="0" y="38485"/>
                    </a:cubicBezTo>
                    <a:lnTo>
                      <a:pt x="0" y="472200"/>
                    </a:lnTo>
                    <a:cubicBezTo>
                      <a:pt x="0" y="493464"/>
                      <a:pt x="17224" y="510709"/>
                      <a:pt x="38493" y="510746"/>
                    </a:cubicBezTo>
                    <a:lnTo>
                      <a:pt x="680725" y="510746"/>
                    </a:lnTo>
                    <a:cubicBezTo>
                      <a:pt x="701994" y="510709"/>
                      <a:pt x="719218" y="493464"/>
                      <a:pt x="719218" y="472200"/>
                    </a:cubicBezTo>
                    <a:lnTo>
                      <a:pt x="719218" y="38485"/>
                    </a:lnTo>
                    <a:cubicBezTo>
                      <a:pt x="719218" y="17230"/>
                      <a:pt x="701982" y="0"/>
                      <a:pt x="680725" y="0"/>
                    </a:cubicBezTo>
                  </a:path>
                </a:pathLst>
              </a:custGeom>
              <a:solidFill>
                <a:schemeClr val="accent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638" name="Textfeld 637">
              <a:extLst>
                <a:ext uri="{FF2B5EF4-FFF2-40B4-BE49-F238E27FC236}">
                  <a16:creationId xmlns:a16="http://schemas.microsoft.com/office/drawing/2014/main" id="{1B546EBE-6638-834C-9C67-283C648E0ABB}"/>
                </a:ext>
              </a:extLst>
            </p:cNvPr>
            <p:cNvSpPr txBox="1"/>
            <p:nvPr/>
          </p:nvSpPr>
          <p:spPr>
            <a:xfrm>
              <a:off x="2027394" y="699902"/>
              <a:ext cx="88391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dirty="0"/>
                <a:t>&gt;2.000</a:t>
              </a:r>
            </a:p>
          </p:txBody>
        </p:sp>
        <p:sp>
          <p:nvSpPr>
            <p:cNvPr id="639" name="Textfeld 638">
              <a:extLst>
                <a:ext uri="{FF2B5EF4-FFF2-40B4-BE49-F238E27FC236}">
                  <a16:creationId xmlns:a16="http://schemas.microsoft.com/office/drawing/2014/main" id="{733EECBA-8F57-D74B-B519-ED0B68E5527D}"/>
                </a:ext>
              </a:extLst>
            </p:cNvPr>
            <p:cNvSpPr txBox="1"/>
            <p:nvPr/>
          </p:nvSpPr>
          <p:spPr>
            <a:xfrm>
              <a:off x="2014426" y="904744"/>
              <a:ext cx="936104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dirty="0"/>
                <a:t>motohodin za rok</a:t>
              </a:r>
              <a:endParaRPr lang="de-DE" sz="700" dirty="0"/>
            </a:p>
          </p:txBody>
        </p:sp>
      </p:grpSp>
      <p:sp>
        <p:nvSpPr>
          <p:cNvPr id="469" name="Freihandform 468">
            <a:extLst>
              <a:ext uri="{FF2B5EF4-FFF2-40B4-BE49-F238E27FC236}">
                <a16:creationId xmlns:a16="http://schemas.microsoft.com/office/drawing/2014/main" id="{9E849F87-929D-614F-A222-0CA95F9946C4}"/>
              </a:ext>
            </a:extLst>
          </p:cNvPr>
          <p:cNvSpPr/>
          <p:nvPr/>
        </p:nvSpPr>
        <p:spPr>
          <a:xfrm>
            <a:off x="2529826" y="2270108"/>
            <a:ext cx="167840" cy="262429"/>
          </a:xfrm>
          <a:custGeom>
            <a:avLst/>
            <a:gdLst>
              <a:gd name="connsiteX0" fmla="*/ 76254 w 152446"/>
              <a:gd name="connsiteY0" fmla="*/ 120035 h 238360"/>
              <a:gd name="connsiteX1" fmla="*/ 33850 w 152446"/>
              <a:gd name="connsiteY1" fmla="*/ 77763 h 238360"/>
              <a:gd name="connsiteX2" fmla="*/ 76132 w 152446"/>
              <a:gd name="connsiteY2" fmla="*/ 35369 h 238360"/>
              <a:gd name="connsiteX3" fmla="*/ 118536 w 152446"/>
              <a:gd name="connsiteY3" fmla="*/ 77641 h 238360"/>
              <a:gd name="connsiteX4" fmla="*/ 118536 w 152446"/>
              <a:gd name="connsiteY4" fmla="*/ 77702 h 238360"/>
              <a:gd name="connsiteX5" fmla="*/ 76254 w 152446"/>
              <a:gd name="connsiteY5" fmla="*/ 120035 h 238360"/>
              <a:gd name="connsiteX6" fmla="*/ 76254 w 152446"/>
              <a:gd name="connsiteY6" fmla="*/ 122 h 238360"/>
              <a:gd name="connsiteX7" fmla="*/ 0 w 152446"/>
              <a:gd name="connsiteY7" fmla="*/ 76358 h 238360"/>
              <a:gd name="connsiteX8" fmla="*/ 76254 w 152446"/>
              <a:gd name="connsiteY8" fmla="*/ 238360 h 238360"/>
              <a:gd name="connsiteX9" fmla="*/ 152447 w 152446"/>
              <a:gd name="connsiteY9" fmla="*/ 76358 h 238360"/>
              <a:gd name="connsiteX10" fmla="*/ 76315 w 152446"/>
              <a:gd name="connsiteY10" fmla="*/ 0 h 238360"/>
              <a:gd name="connsiteX11" fmla="*/ 76254 w 152446"/>
              <a:gd name="connsiteY11" fmla="*/ 0 h 238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2446" h="238360">
                <a:moveTo>
                  <a:pt x="76254" y="120035"/>
                </a:moveTo>
                <a:cubicBezTo>
                  <a:pt x="52871" y="120072"/>
                  <a:pt x="33887" y="101141"/>
                  <a:pt x="33850" y="77763"/>
                </a:cubicBezTo>
                <a:cubicBezTo>
                  <a:pt x="33813" y="54385"/>
                  <a:pt x="52749" y="35406"/>
                  <a:pt x="76132" y="35369"/>
                </a:cubicBezTo>
                <a:cubicBezTo>
                  <a:pt x="99515" y="35333"/>
                  <a:pt x="118499" y="54263"/>
                  <a:pt x="118536" y="77641"/>
                </a:cubicBezTo>
                <a:cubicBezTo>
                  <a:pt x="118536" y="77660"/>
                  <a:pt x="118536" y="77684"/>
                  <a:pt x="118536" y="77702"/>
                </a:cubicBezTo>
                <a:cubicBezTo>
                  <a:pt x="118536" y="101056"/>
                  <a:pt x="99613" y="119999"/>
                  <a:pt x="76254" y="120035"/>
                </a:cubicBezTo>
                <a:moveTo>
                  <a:pt x="76254" y="122"/>
                </a:moveTo>
                <a:cubicBezTo>
                  <a:pt x="34137" y="122"/>
                  <a:pt x="0" y="34251"/>
                  <a:pt x="0" y="76358"/>
                </a:cubicBezTo>
                <a:cubicBezTo>
                  <a:pt x="0" y="118447"/>
                  <a:pt x="76254" y="238360"/>
                  <a:pt x="76254" y="238360"/>
                </a:cubicBezTo>
                <a:cubicBezTo>
                  <a:pt x="76254" y="238360"/>
                  <a:pt x="152447" y="118447"/>
                  <a:pt x="152447" y="76358"/>
                </a:cubicBezTo>
                <a:cubicBezTo>
                  <a:pt x="152514" y="34257"/>
                  <a:pt x="118432" y="67"/>
                  <a:pt x="76315" y="0"/>
                </a:cubicBezTo>
                <a:cubicBezTo>
                  <a:pt x="76297" y="0"/>
                  <a:pt x="76272" y="0"/>
                  <a:pt x="76254" y="0"/>
                </a:cubicBezTo>
              </a:path>
            </a:pathLst>
          </a:custGeom>
          <a:solidFill>
            <a:schemeClr val="accent1"/>
          </a:solidFill>
          <a:ln w="6099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597" name="Freihandform 596">
            <a:extLst>
              <a:ext uri="{FF2B5EF4-FFF2-40B4-BE49-F238E27FC236}">
                <a16:creationId xmlns:a16="http://schemas.microsoft.com/office/drawing/2014/main" id="{E5EBDB78-D316-7441-872D-9412131C074A}"/>
              </a:ext>
            </a:extLst>
          </p:cNvPr>
          <p:cNvSpPr/>
          <p:nvPr/>
        </p:nvSpPr>
        <p:spPr>
          <a:xfrm rot="760063">
            <a:off x="1157022" y="1535577"/>
            <a:ext cx="1526038" cy="936253"/>
          </a:xfrm>
          <a:custGeom>
            <a:avLst/>
            <a:gdLst>
              <a:gd name="connsiteX0" fmla="*/ 0 w 1723929"/>
              <a:gd name="connsiteY0" fmla="*/ 2700 h 1453905"/>
              <a:gd name="connsiteX1" fmla="*/ 556736 w 1723929"/>
              <a:gd name="connsiteY1" fmla="*/ 257764 h 1453905"/>
              <a:gd name="connsiteX2" fmla="*/ 860298 w 1723929"/>
              <a:gd name="connsiteY2" fmla="*/ 771114 h 1453905"/>
              <a:gd name="connsiteX3" fmla="*/ 1462659 w 1723929"/>
              <a:gd name="connsiteY3" fmla="*/ 1050166 h 1453905"/>
              <a:gd name="connsiteX4" fmla="*/ 1723930 w 1723929"/>
              <a:gd name="connsiteY4" fmla="*/ 1453905 h 1453905"/>
              <a:gd name="connsiteX0" fmla="*/ 0 w 1723931"/>
              <a:gd name="connsiteY0" fmla="*/ 0 h 1451205"/>
              <a:gd name="connsiteX1" fmla="*/ 379240 w 1723931"/>
              <a:gd name="connsiteY1" fmla="*/ 395141 h 1451205"/>
              <a:gd name="connsiteX2" fmla="*/ 860298 w 1723931"/>
              <a:gd name="connsiteY2" fmla="*/ 768414 h 1451205"/>
              <a:gd name="connsiteX3" fmla="*/ 1462659 w 1723931"/>
              <a:gd name="connsiteY3" fmla="*/ 1047466 h 1451205"/>
              <a:gd name="connsiteX4" fmla="*/ 1723930 w 1723931"/>
              <a:gd name="connsiteY4" fmla="*/ 1451205 h 1451205"/>
              <a:gd name="connsiteX0" fmla="*/ 0 w 1723929"/>
              <a:gd name="connsiteY0" fmla="*/ 0 h 1451205"/>
              <a:gd name="connsiteX1" fmla="*/ 379240 w 1723929"/>
              <a:gd name="connsiteY1" fmla="*/ 395141 h 1451205"/>
              <a:gd name="connsiteX2" fmla="*/ 817060 w 1723929"/>
              <a:gd name="connsiteY2" fmla="*/ 909106 h 1451205"/>
              <a:gd name="connsiteX3" fmla="*/ 1462659 w 1723929"/>
              <a:gd name="connsiteY3" fmla="*/ 1047466 h 1451205"/>
              <a:gd name="connsiteX4" fmla="*/ 1723930 w 1723929"/>
              <a:gd name="connsiteY4" fmla="*/ 1451205 h 1451205"/>
              <a:gd name="connsiteX0" fmla="*/ 0 w 1723931"/>
              <a:gd name="connsiteY0" fmla="*/ 0 h 1451205"/>
              <a:gd name="connsiteX1" fmla="*/ 379240 w 1723931"/>
              <a:gd name="connsiteY1" fmla="*/ 395141 h 1451205"/>
              <a:gd name="connsiteX2" fmla="*/ 817060 w 1723931"/>
              <a:gd name="connsiteY2" fmla="*/ 909106 h 1451205"/>
              <a:gd name="connsiteX3" fmla="*/ 1407398 w 1723931"/>
              <a:gd name="connsiteY3" fmla="*/ 1182033 h 1451205"/>
              <a:gd name="connsiteX4" fmla="*/ 1723930 w 1723931"/>
              <a:gd name="connsiteY4" fmla="*/ 1451205 h 1451205"/>
              <a:gd name="connsiteX0" fmla="*/ 0 w 2045727"/>
              <a:gd name="connsiteY0" fmla="*/ 0 h 1384666"/>
              <a:gd name="connsiteX1" fmla="*/ 379240 w 2045727"/>
              <a:gd name="connsiteY1" fmla="*/ 395141 h 1384666"/>
              <a:gd name="connsiteX2" fmla="*/ 817060 w 2045727"/>
              <a:gd name="connsiteY2" fmla="*/ 909106 h 1384666"/>
              <a:gd name="connsiteX3" fmla="*/ 1407398 w 2045727"/>
              <a:gd name="connsiteY3" fmla="*/ 1182033 h 1384666"/>
              <a:gd name="connsiteX4" fmla="*/ 2045727 w 2045727"/>
              <a:gd name="connsiteY4" fmla="*/ 1384666 h 1384666"/>
              <a:gd name="connsiteX0" fmla="*/ 0 w 2045727"/>
              <a:gd name="connsiteY0" fmla="*/ 0 h 1393083"/>
              <a:gd name="connsiteX1" fmla="*/ 379240 w 2045727"/>
              <a:gd name="connsiteY1" fmla="*/ 395141 h 1393083"/>
              <a:gd name="connsiteX2" fmla="*/ 817060 w 2045727"/>
              <a:gd name="connsiteY2" fmla="*/ 909106 h 1393083"/>
              <a:gd name="connsiteX3" fmla="*/ 1407398 w 2045727"/>
              <a:gd name="connsiteY3" fmla="*/ 1182033 h 1393083"/>
              <a:gd name="connsiteX4" fmla="*/ 2045727 w 2045727"/>
              <a:gd name="connsiteY4" fmla="*/ 1384666 h 1393083"/>
              <a:gd name="connsiteX0" fmla="*/ 0 w 2650813"/>
              <a:gd name="connsiteY0" fmla="*/ 0 h 1285388"/>
              <a:gd name="connsiteX1" fmla="*/ 379240 w 2650813"/>
              <a:gd name="connsiteY1" fmla="*/ 395141 h 1285388"/>
              <a:gd name="connsiteX2" fmla="*/ 817060 w 2650813"/>
              <a:gd name="connsiteY2" fmla="*/ 909106 h 1285388"/>
              <a:gd name="connsiteX3" fmla="*/ 1407398 w 2650813"/>
              <a:gd name="connsiteY3" fmla="*/ 1182033 h 1285388"/>
              <a:gd name="connsiteX4" fmla="*/ 2650813 w 2650813"/>
              <a:gd name="connsiteY4" fmla="*/ 1150602 h 1285388"/>
              <a:gd name="connsiteX0" fmla="*/ 0 w 2650813"/>
              <a:gd name="connsiteY0" fmla="*/ 0 h 1285389"/>
              <a:gd name="connsiteX1" fmla="*/ 379240 w 2650813"/>
              <a:gd name="connsiteY1" fmla="*/ 395141 h 1285389"/>
              <a:gd name="connsiteX2" fmla="*/ 697034 w 2650813"/>
              <a:gd name="connsiteY2" fmla="*/ 922523 h 1285389"/>
              <a:gd name="connsiteX3" fmla="*/ 1407398 w 2650813"/>
              <a:gd name="connsiteY3" fmla="*/ 1182033 h 1285389"/>
              <a:gd name="connsiteX4" fmla="*/ 2650813 w 2650813"/>
              <a:gd name="connsiteY4" fmla="*/ 1150602 h 1285389"/>
              <a:gd name="connsiteX0" fmla="*/ 0 w 2650813"/>
              <a:gd name="connsiteY0" fmla="*/ 0 h 1319996"/>
              <a:gd name="connsiteX1" fmla="*/ 379240 w 2650813"/>
              <a:gd name="connsiteY1" fmla="*/ 395141 h 1319996"/>
              <a:gd name="connsiteX2" fmla="*/ 697034 w 2650813"/>
              <a:gd name="connsiteY2" fmla="*/ 922523 h 1319996"/>
              <a:gd name="connsiteX3" fmla="*/ 1347498 w 2650813"/>
              <a:gd name="connsiteY3" fmla="*/ 1226089 h 1319996"/>
              <a:gd name="connsiteX4" fmla="*/ 2650813 w 2650813"/>
              <a:gd name="connsiteY4" fmla="*/ 1150602 h 1319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50813" h="1319996">
                <a:moveTo>
                  <a:pt x="0" y="0"/>
                </a:moveTo>
                <a:cubicBezTo>
                  <a:pt x="0" y="0"/>
                  <a:pt x="263068" y="241387"/>
                  <a:pt x="379240" y="395141"/>
                </a:cubicBezTo>
                <a:cubicBezTo>
                  <a:pt x="495412" y="548895"/>
                  <a:pt x="535658" y="784032"/>
                  <a:pt x="697034" y="922523"/>
                </a:cubicBezTo>
                <a:cubicBezTo>
                  <a:pt x="858410" y="1061014"/>
                  <a:pt x="1181096" y="824341"/>
                  <a:pt x="1347498" y="1226089"/>
                </a:cubicBezTo>
                <a:cubicBezTo>
                  <a:pt x="1448368" y="1469584"/>
                  <a:pt x="2298742" y="1164225"/>
                  <a:pt x="2650813" y="1150602"/>
                </a:cubicBezTo>
              </a:path>
            </a:pathLst>
          </a:custGeom>
          <a:noFill/>
          <a:ln w="12700" cap="flat">
            <a:solidFill>
              <a:srgbClr val="1D1D1B"/>
            </a:solidFill>
            <a:prstDash val="dash"/>
            <a:miter/>
          </a:ln>
        </p:spPr>
        <p:txBody>
          <a:bodyPr rtlCol="0" anchor="ctr"/>
          <a:lstStyle/>
          <a:p>
            <a:endParaRPr lang="de-DE" dirty="0"/>
          </a:p>
        </p:txBody>
      </p:sp>
      <p:sp>
        <p:nvSpPr>
          <p:cNvPr id="598" name="Textfeld 597">
            <a:extLst>
              <a:ext uri="{FF2B5EF4-FFF2-40B4-BE49-F238E27FC236}">
                <a16:creationId xmlns:a16="http://schemas.microsoft.com/office/drawing/2014/main" id="{5B487213-1847-4A45-AF25-EE1FC6422110}"/>
              </a:ext>
            </a:extLst>
          </p:cNvPr>
          <p:cNvSpPr txBox="1"/>
          <p:nvPr/>
        </p:nvSpPr>
        <p:spPr>
          <a:xfrm>
            <a:off x="1209750" y="2149535"/>
            <a:ext cx="667878" cy="39586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>
            <a:spAutoFit/>
          </a:bodyPr>
          <a:lstStyle/>
          <a:p>
            <a:r>
              <a:rPr lang="cs-CZ" sz="700" dirty="0"/>
              <a:t>Přeprava na delší vzdálenosti</a:t>
            </a:r>
            <a:endParaRPr lang="de-DE" sz="700" dirty="0"/>
          </a:p>
        </p:txBody>
      </p:sp>
      <p:grpSp>
        <p:nvGrpSpPr>
          <p:cNvPr id="484" name="Gruppieren 483">
            <a:extLst>
              <a:ext uri="{FF2B5EF4-FFF2-40B4-BE49-F238E27FC236}">
                <a16:creationId xmlns:a16="http://schemas.microsoft.com/office/drawing/2014/main" id="{1F172B84-DE1B-3B43-B0CC-BCD7EE7132E7}"/>
              </a:ext>
            </a:extLst>
          </p:cNvPr>
          <p:cNvGrpSpPr/>
          <p:nvPr/>
        </p:nvGrpSpPr>
        <p:grpSpPr>
          <a:xfrm>
            <a:off x="641113" y="2745025"/>
            <a:ext cx="2275100" cy="910210"/>
            <a:chOff x="10113832" y="838185"/>
            <a:chExt cx="2541743" cy="1016887"/>
          </a:xfrm>
        </p:grpSpPr>
        <p:grpSp>
          <p:nvGrpSpPr>
            <p:cNvPr id="485" name="Grafik 5">
              <a:extLst>
                <a:ext uri="{FF2B5EF4-FFF2-40B4-BE49-F238E27FC236}">
                  <a16:creationId xmlns:a16="http://schemas.microsoft.com/office/drawing/2014/main" id="{3A420A93-12A5-7945-8BEC-18124FC51D4A}"/>
                </a:ext>
              </a:extLst>
            </p:cNvPr>
            <p:cNvGrpSpPr/>
            <p:nvPr/>
          </p:nvGrpSpPr>
          <p:grpSpPr>
            <a:xfrm>
              <a:off x="12012866" y="838185"/>
              <a:ext cx="534151" cy="251539"/>
              <a:chOff x="-1634614" y="35796"/>
              <a:chExt cx="279292" cy="131523"/>
            </a:xfrm>
            <a:solidFill>
              <a:srgbClr val="FFDC9A"/>
            </a:solidFill>
          </p:grpSpPr>
          <p:sp>
            <p:nvSpPr>
              <p:cNvPr id="525" name="Freihandform 524">
                <a:extLst>
                  <a:ext uri="{FF2B5EF4-FFF2-40B4-BE49-F238E27FC236}">
                    <a16:creationId xmlns:a16="http://schemas.microsoft.com/office/drawing/2014/main" id="{FB644130-039F-024B-9340-72A0814847B1}"/>
                  </a:ext>
                </a:extLst>
              </p:cNvPr>
              <p:cNvSpPr/>
              <p:nvPr/>
            </p:nvSpPr>
            <p:spPr>
              <a:xfrm>
                <a:off x="-1634614" y="35796"/>
                <a:ext cx="279292" cy="119305"/>
              </a:xfrm>
              <a:custGeom>
                <a:avLst/>
                <a:gdLst>
                  <a:gd name="connsiteX0" fmla="*/ 278864 w 279292"/>
                  <a:gd name="connsiteY0" fmla="*/ 119306 h 119305"/>
                  <a:gd name="connsiteX1" fmla="*/ 0 w 279292"/>
                  <a:gd name="connsiteY1" fmla="*/ 119306 h 119305"/>
                  <a:gd name="connsiteX2" fmla="*/ 0 w 279292"/>
                  <a:gd name="connsiteY2" fmla="*/ 78256 h 119305"/>
                  <a:gd name="connsiteX3" fmla="*/ 79120 w 279292"/>
                  <a:gd name="connsiteY3" fmla="*/ 1 h 119305"/>
                  <a:gd name="connsiteX4" fmla="*/ 79431 w 279292"/>
                  <a:gd name="connsiteY4" fmla="*/ 4 h 119305"/>
                  <a:gd name="connsiteX5" fmla="*/ 199861 w 279292"/>
                  <a:gd name="connsiteY5" fmla="*/ 4 h 119305"/>
                  <a:gd name="connsiteX6" fmla="*/ 279292 w 279292"/>
                  <a:gd name="connsiteY6" fmla="*/ 78068 h 119305"/>
                  <a:gd name="connsiteX7" fmla="*/ 279292 w 279292"/>
                  <a:gd name="connsiteY7" fmla="*/ 78256 h 119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9292" h="119305">
                    <a:moveTo>
                      <a:pt x="278864" y="119306"/>
                    </a:moveTo>
                    <a:lnTo>
                      <a:pt x="0" y="119306"/>
                    </a:lnTo>
                    <a:lnTo>
                      <a:pt x="0" y="78256"/>
                    </a:lnTo>
                    <a:cubicBezTo>
                      <a:pt x="232" y="34803"/>
                      <a:pt x="35658" y="-233"/>
                      <a:pt x="79120" y="1"/>
                    </a:cubicBezTo>
                    <a:cubicBezTo>
                      <a:pt x="79223" y="2"/>
                      <a:pt x="79327" y="2"/>
                      <a:pt x="79431" y="4"/>
                    </a:cubicBezTo>
                    <a:lnTo>
                      <a:pt x="199861" y="4"/>
                    </a:lnTo>
                    <a:cubicBezTo>
                      <a:pt x="243359" y="-368"/>
                      <a:pt x="278919" y="34582"/>
                      <a:pt x="279292" y="78068"/>
                    </a:cubicBezTo>
                    <a:cubicBezTo>
                      <a:pt x="279292" y="78130"/>
                      <a:pt x="279292" y="78193"/>
                      <a:pt x="279292" y="78256"/>
                    </a:cubicBezTo>
                    <a:close/>
                  </a:path>
                </a:pathLst>
              </a:custGeom>
              <a:solidFill>
                <a:srgbClr val="FFDC9A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26" name="Freihandform 525">
                <a:extLst>
                  <a:ext uri="{FF2B5EF4-FFF2-40B4-BE49-F238E27FC236}">
                    <a16:creationId xmlns:a16="http://schemas.microsoft.com/office/drawing/2014/main" id="{E97B82CF-ECF9-8846-9D38-2BBD10926F62}"/>
                  </a:ext>
                </a:extLst>
              </p:cNvPr>
              <p:cNvSpPr/>
              <p:nvPr/>
            </p:nvSpPr>
            <p:spPr>
              <a:xfrm>
                <a:off x="-1597770" y="80392"/>
                <a:ext cx="200838" cy="86927"/>
              </a:xfrm>
              <a:custGeom>
                <a:avLst/>
                <a:gdLst>
                  <a:gd name="connsiteX0" fmla="*/ 200839 w 200838"/>
                  <a:gd name="connsiteY0" fmla="*/ 86928 h 86927"/>
                  <a:gd name="connsiteX1" fmla="*/ 0 w 200838"/>
                  <a:gd name="connsiteY1" fmla="*/ 86928 h 86927"/>
                  <a:gd name="connsiteX2" fmla="*/ 0 w 200838"/>
                  <a:gd name="connsiteY2" fmla="*/ 45450 h 86927"/>
                  <a:gd name="connsiteX3" fmla="*/ 45948 w 200838"/>
                  <a:gd name="connsiteY3" fmla="*/ 1 h 86927"/>
                  <a:gd name="connsiteX4" fmla="*/ 46009 w 200838"/>
                  <a:gd name="connsiteY4" fmla="*/ 1 h 86927"/>
                  <a:gd name="connsiteX5" fmla="*/ 154891 w 200838"/>
                  <a:gd name="connsiteY5" fmla="*/ 1 h 86927"/>
                  <a:gd name="connsiteX6" fmla="*/ 200839 w 200838"/>
                  <a:gd name="connsiteY6" fmla="*/ 45449 h 86927"/>
                  <a:gd name="connsiteX7" fmla="*/ 200839 w 200838"/>
                  <a:gd name="connsiteY7" fmla="*/ 45450 h 86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0838" h="86927">
                    <a:moveTo>
                      <a:pt x="200839" y="86928"/>
                    </a:moveTo>
                    <a:lnTo>
                      <a:pt x="0" y="86928"/>
                    </a:lnTo>
                    <a:lnTo>
                      <a:pt x="0" y="45450"/>
                    </a:lnTo>
                    <a:cubicBezTo>
                      <a:pt x="134" y="20215"/>
                      <a:pt x="20707" y="-134"/>
                      <a:pt x="45948" y="1"/>
                    </a:cubicBezTo>
                    <a:cubicBezTo>
                      <a:pt x="45966" y="1"/>
                      <a:pt x="45991" y="1"/>
                      <a:pt x="46009" y="1"/>
                    </a:cubicBezTo>
                    <a:lnTo>
                      <a:pt x="154891" y="1"/>
                    </a:lnTo>
                    <a:cubicBezTo>
                      <a:pt x="180132" y="-134"/>
                      <a:pt x="200704" y="20214"/>
                      <a:pt x="200839" y="45449"/>
                    </a:cubicBezTo>
                    <a:cubicBezTo>
                      <a:pt x="200839" y="45449"/>
                      <a:pt x="200839" y="45449"/>
                      <a:pt x="200839" y="45450"/>
                    </a:cubicBezTo>
                    <a:close/>
                  </a:path>
                </a:pathLst>
              </a:custGeom>
              <a:solidFill>
                <a:srgbClr val="FFDC9A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486" name="Freihandform 485">
              <a:extLst>
                <a:ext uri="{FF2B5EF4-FFF2-40B4-BE49-F238E27FC236}">
                  <a16:creationId xmlns:a16="http://schemas.microsoft.com/office/drawing/2014/main" id="{B99EADDD-6334-B64A-AE09-6B5123EF6E8C}"/>
                </a:ext>
              </a:extLst>
            </p:cNvPr>
            <p:cNvSpPr/>
            <p:nvPr/>
          </p:nvSpPr>
          <p:spPr>
            <a:xfrm>
              <a:off x="12010762" y="1004207"/>
              <a:ext cx="535084" cy="94515"/>
            </a:xfrm>
            <a:custGeom>
              <a:avLst/>
              <a:gdLst>
                <a:gd name="connsiteX0" fmla="*/ 0 w 279780"/>
                <a:gd name="connsiteY0" fmla="*/ 0 h 49419"/>
                <a:gd name="connsiteX1" fmla="*/ 279781 w 279780"/>
                <a:gd name="connsiteY1" fmla="*/ 0 h 49419"/>
                <a:gd name="connsiteX2" fmla="*/ 279781 w 279780"/>
                <a:gd name="connsiteY2" fmla="*/ 49419 h 49419"/>
                <a:gd name="connsiteX3" fmla="*/ 0 w 279780"/>
                <a:gd name="connsiteY3" fmla="*/ 49419 h 49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9780" h="49419">
                  <a:moveTo>
                    <a:pt x="0" y="0"/>
                  </a:moveTo>
                  <a:lnTo>
                    <a:pt x="279781" y="0"/>
                  </a:lnTo>
                  <a:lnTo>
                    <a:pt x="279781" y="49419"/>
                  </a:lnTo>
                  <a:lnTo>
                    <a:pt x="0" y="49419"/>
                  </a:lnTo>
                  <a:close/>
                </a:path>
              </a:pathLst>
            </a:custGeom>
            <a:solidFill>
              <a:schemeClr val="accent1"/>
            </a:solidFill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7" name="Freihandform 486">
              <a:extLst>
                <a:ext uri="{FF2B5EF4-FFF2-40B4-BE49-F238E27FC236}">
                  <a16:creationId xmlns:a16="http://schemas.microsoft.com/office/drawing/2014/main" id="{19BEAFBA-9A4C-7145-8EA0-E2901A2CEE75}"/>
                </a:ext>
              </a:extLst>
            </p:cNvPr>
            <p:cNvSpPr/>
            <p:nvPr/>
          </p:nvSpPr>
          <p:spPr>
            <a:xfrm>
              <a:off x="12021630" y="1054326"/>
              <a:ext cx="524567" cy="11682"/>
            </a:xfrm>
            <a:custGeom>
              <a:avLst/>
              <a:gdLst>
                <a:gd name="connsiteX0" fmla="*/ 0 w 274281"/>
                <a:gd name="connsiteY0" fmla="*/ 0 h 6108"/>
                <a:gd name="connsiteX1" fmla="*/ 274282 w 274281"/>
                <a:gd name="connsiteY1" fmla="*/ 0 h 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4281" h="6108">
                  <a:moveTo>
                    <a:pt x="0" y="0"/>
                  </a:moveTo>
                  <a:lnTo>
                    <a:pt x="274282" y="0"/>
                  </a:lnTo>
                </a:path>
              </a:pathLst>
            </a:custGeom>
            <a:ln w="31750" cap="flat">
              <a:solidFill>
                <a:srgbClr val="1D1D1B"/>
              </a:solidFill>
              <a:prstDash val="sysDash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488" name="Grafik 5">
              <a:extLst>
                <a:ext uri="{FF2B5EF4-FFF2-40B4-BE49-F238E27FC236}">
                  <a16:creationId xmlns:a16="http://schemas.microsoft.com/office/drawing/2014/main" id="{620E3C4E-664B-7740-AD98-E48E607526F0}"/>
                </a:ext>
              </a:extLst>
            </p:cNvPr>
            <p:cNvGrpSpPr/>
            <p:nvPr/>
          </p:nvGrpSpPr>
          <p:grpSpPr>
            <a:xfrm>
              <a:off x="10221340" y="838188"/>
              <a:ext cx="534151" cy="251538"/>
              <a:chOff x="-2571351" y="35797"/>
              <a:chExt cx="279292" cy="131522"/>
            </a:xfrm>
            <a:solidFill>
              <a:srgbClr val="FFDC9A"/>
            </a:solidFill>
          </p:grpSpPr>
          <p:sp>
            <p:nvSpPr>
              <p:cNvPr id="523" name="Freihandform 522">
                <a:extLst>
                  <a:ext uri="{FF2B5EF4-FFF2-40B4-BE49-F238E27FC236}">
                    <a16:creationId xmlns:a16="http://schemas.microsoft.com/office/drawing/2014/main" id="{5C4EA464-F25D-2F4B-B189-5E4853BFA0AD}"/>
                  </a:ext>
                </a:extLst>
              </p:cNvPr>
              <p:cNvSpPr/>
              <p:nvPr/>
            </p:nvSpPr>
            <p:spPr>
              <a:xfrm>
                <a:off x="-2571351" y="35797"/>
                <a:ext cx="279292" cy="119305"/>
              </a:xfrm>
              <a:custGeom>
                <a:avLst/>
                <a:gdLst>
                  <a:gd name="connsiteX0" fmla="*/ 278925 w 279292"/>
                  <a:gd name="connsiteY0" fmla="*/ 119305 h 119305"/>
                  <a:gd name="connsiteX1" fmla="*/ 0 w 279292"/>
                  <a:gd name="connsiteY1" fmla="*/ 119305 h 119305"/>
                  <a:gd name="connsiteX2" fmla="*/ 0 w 279292"/>
                  <a:gd name="connsiteY2" fmla="*/ 78255 h 119305"/>
                  <a:gd name="connsiteX3" fmla="*/ 79242 w 279292"/>
                  <a:gd name="connsiteY3" fmla="*/ 2 h 119305"/>
                  <a:gd name="connsiteX4" fmla="*/ 79431 w 279292"/>
                  <a:gd name="connsiteY4" fmla="*/ 3 h 119305"/>
                  <a:gd name="connsiteX5" fmla="*/ 199861 w 279292"/>
                  <a:gd name="connsiteY5" fmla="*/ 3 h 119305"/>
                  <a:gd name="connsiteX6" fmla="*/ 279292 w 279292"/>
                  <a:gd name="connsiteY6" fmla="*/ 78067 h 119305"/>
                  <a:gd name="connsiteX7" fmla="*/ 279292 w 279292"/>
                  <a:gd name="connsiteY7" fmla="*/ 78255 h 119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9292" h="119305">
                    <a:moveTo>
                      <a:pt x="278925" y="119305"/>
                    </a:moveTo>
                    <a:lnTo>
                      <a:pt x="0" y="119305"/>
                    </a:lnTo>
                    <a:lnTo>
                      <a:pt x="0" y="78255"/>
                    </a:lnTo>
                    <a:cubicBezTo>
                      <a:pt x="269" y="34769"/>
                      <a:pt x="35744" y="-267"/>
                      <a:pt x="79242" y="2"/>
                    </a:cubicBezTo>
                    <a:cubicBezTo>
                      <a:pt x="79309" y="2"/>
                      <a:pt x="79370" y="2"/>
                      <a:pt x="79431" y="3"/>
                    </a:cubicBezTo>
                    <a:lnTo>
                      <a:pt x="199861" y="3"/>
                    </a:lnTo>
                    <a:cubicBezTo>
                      <a:pt x="243359" y="-369"/>
                      <a:pt x="278919" y="34582"/>
                      <a:pt x="279292" y="78067"/>
                    </a:cubicBezTo>
                    <a:cubicBezTo>
                      <a:pt x="279292" y="78130"/>
                      <a:pt x="279292" y="78193"/>
                      <a:pt x="279292" y="78255"/>
                    </a:cubicBezTo>
                    <a:close/>
                  </a:path>
                </a:pathLst>
              </a:custGeom>
              <a:solidFill>
                <a:srgbClr val="FFDC9A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24" name="Freihandform 523">
                <a:extLst>
                  <a:ext uri="{FF2B5EF4-FFF2-40B4-BE49-F238E27FC236}">
                    <a16:creationId xmlns:a16="http://schemas.microsoft.com/office/drawing/2014/main" id="{E7781ED5-4936-AA4B-A6C7-E0EB92AAECBE}"/>
                  </a:ext>
                </a:extLst>
              </p:cNvPr>
              <p:cNvSpPr/>
              <p:nvPr/>
            </p:nvSpPr>
            <p:spPr>
              <a:xfrm>
                <a:off x="-2534446" y="80392"/>
                <a:ext cx="200838" cy="86927"/>
              </a:xfrm>
              <a:custGeom>
                <a:avLst/>
                <a:gdLst>
                  <a:gd name="connsiteX0" fmla="*/ 200838 w 200838"/>
                  <a:gd name="connsiteY0" fmla="*/ 86927 h 86927"/>
                  <a:gd name="connsiteX1" fmla="*/ 0 w 200838"/>
                  <a:gd name="connsiteY1" fmla="*/ 86927 h 86927"/>
                  <a:gd name="connsiteX2" fmla="*/ 0 w 200838"/>
                  <a:gd name="connsiteY2" fmla="*/ 45450 h 86927"/>
                  <a:gd name="connsiteX3" fmla="*/ 45948 w 200838"/>
                  <a:gd name="connsiteY3" fmla="*/ 1 h 86927"/>
                  <a:gd name="connsiteX4" fmla="*/ 45948 w 200838"/>
                  <a:gd name="connsiteY4" fmla="*/ 1 h 86927"/>
                  <a:gd name="connsiteX5" fmla="*/ 154830 w 200838"/>
                  <a:gd name="connsiteY5" fmla="*/ 1 h 86927"/>
                  <a:gd name="connsiteX6" fmla="*/ 200838 w 200838"/>
                  <a:gd name="connsiteY6" fmla="*/ 45387 h 86927"/>
                  <a:gd name="connsiteX7" fmla="*/ 200838 w 200838"/>
                  <a:gd name="connsiteY7" fmla="*/ 45450 h 869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0838" h="86927">
                    <a:moveTo>
                      <a:pt x="200838" y="86927"/>
                    </a:moveTo>
                    <a:lnTo>
                      <a:pt x="0" y="86927"/>
                    </a:lnTo>
                    <a:lnTo>
                      <a:pt x="0" y="45450"/>
                    </a:lnTo>
                    <a:cubicBezTo>
                      <a:pt x="134" y="20215"/>
                      <a:pt x="20707" y="-133"/>
                      <a:pt x="45948" y="1"/>
                    </a:cubicBezTo>
                    <a:cubicBezTo>
                      <a:pt x="45948" y="1"/>
                      <a:pt x="45948" y="1"/>
                      <a:pt x="45948" y="1"/>
                    </a:cubicBezTo>
                    <a:lnTo>
                      <a:pt x="154830" y="1"/>
                    </a:lnTo>
                    <a:cubicBezTo>
                      <a:pt x="180070" y="-168"/>
                      <a:pt x="200668" y="20152"/>
                      <a:pt x="200838" y="45387"/>
                    </a:cubicBezTo>
                    <a:cubicBezTo>
                      <a:pt x="200838" y="45408"/>
                      <a:pt x="200838" y="45429"/>
                      <a:pt x="200838" y="45450"/>
                    </a:cubicBezTo>
                    <a:close/>
                  </a:path>
                </a:pathLst>
              </a:custGeom>
              <a:solidFill>
                <a:srgbClr val="FFDC9A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489" name="Freihandform 488">
              <a:extLst>
                <a:ext uri="{FF2B5EF4-FFF2-40B4-BE49-F238E27FC236}">
                  <a16:creationId xmlns:a16="http://schemas.microsoft.com/office/drawing/2014/main" id="{7C1F86E8-F68A-AB4A-A0A8-F0F3BEDEB408}"/>
                </a:ext>
              </a:extLst>
            </p:cNvPr>
            <p:cNvSpPr/>
            <p:nvPr/>
          </p:nvSpPr>
          <p:spPr>
            <a:xfrm>
              <a:off x="10219353" y="1004207"/>
              <a:ext cx="535084" cy="94515"/>
            </a:xfrm>
            <a:custGeom>
              <a:avLst/>
              <a:gdLst>
                <a:gd name="connsiteX0" fmla="*/ 0 w 279780"/>
                <a:gd name="connsiteY0" fmla="*/ 0 h 49419"/>
                <a:gd name="connsiteX1" fmla="*/ 279781 w 279780"/>
                <a:gd name="connsiteY1" fmla="*/ 0 h 49419"/>
                <a:gd name="connsiteX2" fmla="*/ 279781 w 279780"/>
                <a:gd name="connsiteY2" fmla="*/ 49419 h 49419"/>
                <a:gd name="connsiteX3" fmla="*/ 0 w 279780"/>
                <a:gd name="connsiteY3" fmla="*/ 49419 h 49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9780" h="49419">
                  <a:moveTo>
                    <a:pt x="0" y="0"/>
                  </a:moveTo>
                  <a:lnTo>
                    <a:pt x="279781" y="0"/>
                  </a:lnTo>
                  <a:lnTo>
                    <a:pt x="279781" y="49419"/>
                  </a:lnTo>
                  <a:lnTo>
                    <a:pt x="0" y="49419"/>
                  </a:lnTo>
                  <a:close/>
                </a:path>
              </a:pathLst>
            </a:custGeom>
            <a:solidFill>
              <a:schemeClr val="accent1"/>
            </a:solidFill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0" name="Freihandform 489">
              <a:extLst>
                <a:ext uri="{FF2B5EF4-FFF2-40B4-BE49-F238E27FC236}">
                  <a16:creationId xmlns:a16="http://schemas.microsoft.com/office/drawing/2014/main" id="{3787F90E-6113-CE4E-8FCB-BEC7B1C1B4B7}"/>
                </a:ext>
              </a:extLst>
            </p:cNvPr>
            <p:cNvSpPr/>
            <p:nvPr/>
          </p:nvSpPr>
          <p:spPr>
            <a:xfrm>
              <a:off x="10800364" y="1648904"/>
              <a:ext cx="61816" cy="140161"/>
            </a:xfrm>
            <a:custGeom>
              <a:avLst/>
              <a:gdLst>
                <a:gd name="connsiteX0" fmla="*/ 16192 w 32322"/>
                <a:gd name="connsiteY0" fmla="*/ 73286 h 73286"/>
                <a:gd name="connsiteX1" fmla="*/ 16192 w 32322"/>
                <a:gd name="connsiteY1" fmla="*/ 73286 h 73286"/>
                <a:gd name="connsiteX2" fmla="*/ 0 w 32322"/>
                <a:gd name="connsiteY2" fmla="*/ 57343 h 73286"/>
                <a:gd name="connsiteX3" fmla="*/ 0 w 32322"/>
                <a:gd name="connsiteY3" fmla="*/ 57343 h 73286"/>
                <a:gd name="connsiteX4" fmla="*/ 0 w 32322"/>
                <a:gd name="connsiteY4" fmla="*/ 15193 h 73286"/>
                <a:gd name="connsiteX5" fmla="*/ 17157 w 32322"/>
                <a:gd name="connsiteY5" fmla="*/ 31 h 73286"/>
                <a:gd name="connsiteX6" fmla="*/ 32322 w 32322"/>
                <a:gd name="connsiteY6" fmla="*/ 15193 h 73286"/>
                <a:gd name="connsiteX7" fmla="*/ 32322 w 32322"/>
                <a:gd name="connsiteY7" fmla="*/ 57343 h 73286"/>
                <a:gd name="connsiteX8" fmla="*/ 16253 w 32322"/>
                <a:gd name="connsiteY8" fmla="*/ 73286 h 73286"/>
                <a:gd name="connsiteX9" fmla="*/ 16192 w 32322"/>
                <a:gd name="connsiteY9" fmla="*/ 73286 h 7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322" h="73286">
                  <a:moveTo>
                    <a:pt x="16192" y="73286"/>
                  </a:moveTo>
                  <a:lnTo>
                    <a:pt x="16192" y="73286"/>
                  </a:lnTo>
                  <a:cubicBezTo>
                    <a:pt x="7320" y="73354"/>
                    <a:pt x="67" y="66219"/>
                    <a:pt x="0" y="57343"/>
                  </a:cubicBezTo>
                  <a:cubicBezTo>
                    <a:pt x="0" y="57343"/>
                    <a:pt x="0" y="57343"/>
                    <a:pt x="0" y="57343"/>
                  </a:cubicBezTo>
                  <a:lnTo>
                    <a:pt x="0" y="15193"/>
                  </a:lnTo>
                  <a:cubicBezTo>
                    <a:pt x="550" y="6268"/>
                    <a:pt x="8230" y="-519"/>
                    <a:pt x="17157" y="31"/>
                  </a:cubicBezTo>
                  <a:cubicBezTo>
                    <a:pt x="25314" y="532"/>
                    <a:pt x="31821" y="7038"/>
                    <a:pt x="32322" y="15193"/>
                  </a:cubicBezTo>
                  <a:lnTo>
                    <a:pt x="32322" y="57343"/>
                  </a:lnTo>
                  <a:cubicBezTo>
                    <a:pt x="32286" y="66182"/>
                    <a:pt x="25094" y="73323"/>
                    <a:pt x="16253" y="73286"/>
                  </a:cubicBezTo>
                  <a:cubicBezTo>
                    <a:pt x="16234" y="73286"/>
                    <a:pt x="16210" y="73286"/>
                    <a:pt x="16192" y="73286"/>
                  </a:cubicBezTo>
                </a:path>
              </a:pathLst>
            </a:custGeom>
            <a:solidFill>
              <a:schemeClr val="accent1"/>
            </a:solidFill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1" name="Freihandform 490">
              <a:extLst>
                <a:ext uri="{FF2B5EF4-FFF2-40B4-BE49-F238E27FC236}">
                  <a16:creationId xmlns:a16="http://schemas.microsoft.com/office/drawing/2014/main" id="{44E8A6B6-9BCF-0C4F-B000-CDD89EDAD7A4}"/>
                </a:ext>
              </a:extLst>
            </p:cNvPr>
            <p:cNvSpPr/>
            <p:nvPr/>
          </p:nvSpPr>
          <p:spPr>
            <a:xfrm>
              <a:off x="10115819" y="930367"/>
              <a:ext cx="534151" cy="227823"/>
            </a:xfrm>
            <a:custGeom>
              <a:avLst/>
              <a:gdLst>
                <a:gd name="connsiteX0" fmla="*/ 278925 w 279292"/>
                <a:gd name="connsiteY0" fmla="*/ 119122 h 119122"/>
                <a:gd name="connsiteX1" fmla="*/ 0 w 279292"/>
                <a:gd name="connsiteY1" fmla="*/ 119122 h 119122"/>
                <a:gd name="connsiteX2" fmla="*/ 0 w 279292"/>
                <a:gd name="connsiteY2" fmla="*/ 78255 h 119122"/>
                <a:gd name="connsiteX3" fmla="*/ 79242 w 279292"/>
                <a:gd name="connsiteY3" fmla="*/ 2 h 119122"/>
                <a:gd name="connsiteX4" fmla="*/ 79431 w 279292"/>
                <a:gd name="connsiteY4" fmla="*/ 3 h 119122"/>
                <a:gd name="connsiteX5" fmla="*/ 199861 w 279292"/>
                <a:gd name="connsiteY5" fmla="*/ 3 h 119122"/>
                <a:gd name="connsiteX6" fmla="*/ 279292 w 279292"/>
                <a:gd name="connsiteY6" fmla="*/ 78067 h 119122"/>
                <a:gd name="connsiteX7" fmla="*/ 279292 w 279292"/>
                <a:gd name="connsiteY7" fmla="*/ 78255 h 119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9292" h="119122">
                  <a:moveTo>
                    <a:pt x="278925" y="119122"/>
                  </a:moveTo>
                  <a:lnTo>
                    <a:pt x="0" y="119122"/>
                  </a:lnTo>
                  <a:lnTo>
                    <a:pt x="0" y="78255"/>
                  </a:lnTo>
                  <a:cubicBezTo>
                    <a:pt x="269" y="34769"/>
                    <a:pt x="35744" y="-267"/>
                    <a:pt x="79242" y="2"/>
                  </a:cubicBezTo>
                  <a:cubicBezTo>
                    <a:pt x="79309" y="2"/>
                    <a:pt x="79370" y="2"/>
                    <a:pt x="79431" y="3"/>
                  </a:cubicBezTo>
                  <a:lnTo>
                    <a:pt x="199861" y="3"/>
                  </a:lnTo>
                  <a:cubicBezTo>
                    <a:pt x="243359" y="-369"/>
                    <a:pt x="278919" y="34582"/>
                    <a:pt x="279292" y="78067"/>
                  </a:cubicBezTo>
                  <a:cubicBezTo>
                    <a:pt x="279292" y="78130"/>
                    <a:pt x="279292" y="78193"/>
                    <a:pt x="279292" y="78255"/>
                  </a:cubicBezTo>
                  <a:close/>
                </a:path>
              </a:pathLst>
            </a:custGeom>
            <a:solidFill>
              <a:schemeClr val="tx1"/>
            </a:solidFill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2" name="Freihandform 491">
              <a:extLst>
                <a:ext uri="{FF2B5EF4-FFF2-40B4-BE49-F238E27FC236}">
                  <a16:creationId xmlns:a16="http://schemas.microsoft.com/office/drawing/2014/main" id="{E9589EBC-8A7D-CC4A-BAD7-FFBBE1BB96B7}"/>
                </a:ext>
              </a:extLst>
            </p:cNvPr>
            <p:cNvSpPr/>
            <p:nvPr/>
          </p:nvSpPr>
          <p:spPr>
            <a:xfrm>
              <a:off x="10113832" y="1096387"/>
              <a:ext cx="535084" cy="94515"/>
            </a:xfrm>
            <a:custGeom>
              <a:avLst/>
              <a:gdLst>
                <a:gd name="connsiteX0" fmla="*/ 0 w 279780"/>
                <a:gd name="connsiteY0" fmla="*/ 0 h 49419"/>
                <a:gd name="connsiteX1" fmla="*/ 279781 w 279780"/>
                <a:gd name="connsiteY1" fmla="*/ 0 h 49419"/>
                <a:gd name="connsiteX2" fmla="*/ 279781 w 279780"/>
                <a:gd name="connsiteY2" fmla="*/ 49419 h 49419"/>
                <a:gd name="connsiteX3" fmla="*/ 0 w 279780"/>
                <a:gd name="connsiteY3" fmla="*/ 49419 h 49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9780" h="49419">
                  <a:moveTo>
                    <a:pt x="0" y="0"/>
                  </a:moveTo>
                  <a:lnTo>
                    <a:pt x="279781" y="0"/>
                  </a:lnTo>
                  <a:lnTo>
                    <a:pt x="279781" y="49419"/>
                  </a:lnTo>
                  <a:lnTo>
                    <a:pt x="0" y="49419"/>
                  </a:lnTo>
                  <a:close/>
                </a:path>
              </a:pathLst>
            </a:custGeom>
            <a:solidFill>
              <a:schemeClr val="accent1"/>
            </a:solidFill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3" name="Freihandform 492">
              <a:extLst>
                <a:ext uri="{FF2B5EF4-FFF2-40B4-BE49-F238E27FC236}">
                  <a16:creationId xmlns:a16="http://schemas.microsoft.com/office/drawing/2014/main" id="{F49C9327-8277-A84B-B255-EC7668B4699F}"/>
                </a:ext>
              </a:extLst>
            </p:cNvPr>
            <p:cNvSpPr/>
            <p:nvPr/>
          </p:nvSpPr>
          <p:spPr>
            <a:xfrm>
              <a:off x="10754789" y="968458"/>
              <a:ext cx="1255972" cy="5840"/>
            </a:xfrm>
            <a:custGeom>
              <a:avLst/>
              <a:gdLst>
                <a:gd name="connsiteX0" fmla="*/ 0 w 656712"/>
                <a:gd name="connsiteY0" fmla="*/ 3054 h 3054"/>
                <a:gd name="connsiteX1" fmla="*/ 656712 w 656712"/>
                <a:gd name="connsiteY1" fmla="*/ 0 h 3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56712" h="3054">
                  <a:moveTo>
                    <a:pt x="0" y="3054"/>
                  </a:moveTo>
                  <a:lnTo>
                    <a:pt x="656712" y="0"/>
                  </a:lnTo>
                </a:path>
              </a:pathLst>
            </a:custGeom>
            <a:ln w="12700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494" name="Grafik 5">
              <a:extLst>
                <a:ext uri="{FF2B5EF4-FFF2-40B4-BE49-F238E27FC236}">
                  <a16:creationId xmlns:a16="http://schemas.microsoft.com/office/drawing/2014/main" id="{4627DD08-4FFC-CE42-B781-121D917093FD}"/>
                </a:ext>
              </a:extLst>
            </p:cNvPr>
            <p:cNvGrpSpPr/>
            <p:nvPr/>
          </p:nvGrpSpPr>
          <p:grpSpPr>
            <a:xfrm>
              <a:off x="11563787" y="1471755"/>
              <a:ext cx="484836" cy="317311"/>
              <a:chOff x="-1869424" y="367072"/>
              <a:chExt cx="253507" cy="165913"/>
            </a:xfrm>
          </p:grpSpPr>
          <p:sp>
            <p:nvSpPr>
              <p:cNvPr id="518" name="Freihandform 517">
                <a:extLst>
                  <a:ext uri="{FF2B5EF4-FFF2-40B4-BE49-F238E27FC236}">
                    <a16:creationId xmlns:a16="http://schemas.microsoft.com/office/drawing/2014/main" id="{81E81B50-4F2E-DA45-832C-7B0026BB901D}"/>
                  </a:ext>
                </a:extLst>
              </p:cNvPr>
              <p:cNvSpPr/>
              <p:nvPr/>
            </p:nvSpPr>
            <p:spPr>
              <a:xfrm>
                <a:off x="-1675857" y="459698"/>
                <a:ext cx="32322" cy="73286"/>
              </a:xfrm>
              <a:custGeom>
                <a:avLst/>
                <a:gdLst>
                  <a:gd name="connsiteX0" fmla="*/ 16131 w 32322"/>
                  <a:gd name="connsiteY0" fmla="*/ 73286 h 73286"/>
                  <a:gd name="connsiteX1" fmla="*/ 16131 w 32322"/>
                  <a:gd name="connsiteY1" fmla="*/ 73286 h 73286"/>
                  <a:gd name="connsiteX2" fmla="*/ 0 w 32322"/>
                  <a:gd name="connsiteY2" fmla="*/ 57404 h 73286"/>
                  <a:gd name="connsiteX3" fmla="*/ 0 w 32322"/>
                  <a:gd name="connsiteY3" fmla="*/ 57343 h 73286"/>
                  <a:gd name="connsiteX4" fmla="*/ 0 w 32322"/>
                  <a:gd name="connsiteY4" fmla="*/ 15193 h 73286"/>
                  <a:gd name="connsiteX5" fmla="*/ 17157 w 32322"/>
                  <a:gd name="connsiteY5" fmla="*/ 31 h 73286"/>
                  <a:gd name="connsiteX6" fmla="*/ 32322 w 32322"/>
                  <a:gd name="connsiteY6" fmla="*/ 15193 h 73286"/>
                  <a:gd name="connsiteX7" fmla="*/ 32322 w 32322"/>
                  <a:gd name="connsiteY7" fmla="*/ 57343 h 73286"/>
                  <a:gd name="connsiteX8" fmla="*/ 16131 w 32322"/>
                  <a:gd name="connsiteY8" fmla="*/ 73286 h 73286"/>
                  <a:gd name="connsiteX9" fmla="*/ 16131 w 32322"/>
                  <a:gd name="connsiteY9" fmla="*/ 73286 h 7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2322" h="73286">
                    <a:moveTo>
                      <a:pt x="16131" y="73286"/>
                    </a:moveTo>
                    <a:lnTo>
                      <a:pt x="16131" y="73286"/>
                    </a:lnTo>
                    <a:cubicBezTo>
                      <a:pt x="7289" y="73354"/>
                      <a:pt x="67" y="66243"/>
                      <a:pt x="0" y="57404"/>
                    </a:cubicBezTo>
                    <a:cubicBezTo>
                      <a:pt x="0" y="57386"/>
                      <a:pt x="0" y="57361"/>
                      <a:pt x="0" y="57343"/>
                    </a:cubicBezTo>
                    <a:lnTo>
                      <a:pt x="0" y="15193"/>
                    </a:lnTo>
                    <a:cubicBezTo>
                      <a:pt x="550" y="6268"/>
                      <a:pt x="8230" y="-519"/>
                      <a:pt x="17157" y="31"/>
                    </a:cubicBezTo>
                    <a:cubicBezTo>
                      <a:pt x="25314" y="532"/>
                      <a:pt x="31821" y="7038"/>
                      <a:pt x="32322" y="15193"/>
                    </a:cubicBezTo>
                    <a:lnTo>
                      <a:pt x="32322" y="57343"/>
                    </a:lnTo>
                    <a:cubicBezTo>
                      <a:pt x="32255" y="66213"/>
                      <a:pt x="25009" y="73354"/>
                      <a:pt x="16131" y="73286"/>
                    </a:cubicBezTo>
                    <a:cubicBezTo>
                      <a:pt x="16131" y="73286"/>
                      <a:pt x="16131" y="73286"/>
                      <a:pt x="16131" y="73286"/>
                    </a:cubicBezTo>
                  </a:path>
                </a:pathLst>
              </a:custGeom>
              <a:solidFill>
                <a:schemeClr val="accent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9" name="Freihandform 518">
                <a:extLst>
                  <a:ext uri="{FF2B5EF4-FFF2-40B4-BE49-F238E27FC236}">
                    <a16:creationId xmlns:a16="http://schemas.microsoft.com/office/drawing/2014/main" id="{8AEED182-922F-514E-8BC8-ECEE27EB2BE0}"/>
                  </a:ext>
                </a:extLst>
              </p:cNvPr>
              <p:cNvSpPr/>
              <p:nvPr/>
            </p:nvSpPr>
            <p:spPr>
              <a:xfrm>
                <a:off x="-1841746" y="422784"/>
                <a:ext cx="198394" cy="84788"/>
              </a:xfrm>
              <a:custGeom>
                <a:avLst/>
                <a:gdLst>
                  <a:gd name="connsiteX0" fmla="*/ 0 w 198394"/>
                  <a:gd name="connsiteY0" fmla="*/ 0 h 84788"/>
                  <a:gd name="connsiteX1" fmla="*/ 198394 w 198394"/>
                  <a:gd name="connsiteY1" fmla="*/ 0 h 84788"/>
                  <a:gd name="connsiteX2" fmla="*/ 198394 w 198394"/>
                  <a:gd name="connsiteY2" fmla="*/ 51007 h 84788"/>
                  <a:gd name="connsiteX3" fmla="*/ 164178 w 198394"/>
                  <a:gd name="connsiteY3" fmla="*/ 84788 h 84788"/>
                  <a:gd name="connsiteX4" fmla="*/ 34217 w 198394"/>
                  <a:gd name="connsiteY4" fmla="*/ 84788 h 84788"/>
                  <a:gd name="connsiteX5" fmla="*/ 0 w 198394"/>
                  <a:gd name="connsiteY5" fmla="*/ 51007 h 84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8394" h="84788">
                    <a:moveTo>
                      <a:pt x="0" y="0"/>
                    </a:moveTo>
                    <a:lnTo>
                      <a:pt x="198394" y="0"/>
                    </a:lnTo>
                    <a:lnTo>
                      <a:pt x="198394" y="51007"/>
                    </a:lnTo>
                    <a:cubicBezTo>
                      <a:pt x="198260" y="69773"/>
                      <a:pt x="182948" y="84892"/>
                      <a:pt x="164178" y="84788"/>
                    </a:cubicBezTo>
                    <a:lnTo>
                      <a:pt x="34217" y="84788"/>
                    </a:lnTo>
                    <a:cubicBezTo>
                      <a:pt x="15446" y="84892"/>
                      <a:pt x="134" y="69773"/>
                      <a:pt x="0" y="5100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20" name="Freihandform 519">
                <a:extLst>
                  <a:ext uri="{FF2B5EF4-FFF2-40B4-BE49-F238E27FC236}">
                    <a16:creationId xmlns:a16="http://schemas.microsoft.com/office/drawing/2014/main" id="{BFB3CDEB-3F20-F94A-8611-4F035BE3726D}"/>
                  </a:ext>
                </a:extLst>
              </p:cNvPr>
              <p:cNvSpPr/>
              <p:nvPr/>
            </p:nvSpPr>
            <p:spPr>
              <a:xfrm>
                <a:off x="-1841746" y="367072"/>
                <a:ext cx="198394" cy="97739"/>
              </a:xfrm>
              <a:custGeom>
                <a:avLst/>
                <a:gdLst>
                  <a:gd name="connsiteX0" fmla="*/ 198394 w 198394"/>
                  <a:gd name="connsiteY0" fmla="*/ 97740 h 97739"/>
                  <a:gd name="connsiteX1" fmla="*/ 0 w 198394"/>
                  <a:gd name="connsiteY1" fmla="*/ 97740 h 97739"/>
                  <a:gd name="connsiteX2" fmla="*/ 0 w 198394"/>
                  <a:gd name="connsiteY2" fmla="*/ 55712 h 97739"/>
                  <a:gd name="connsiteX3" fmla="*/ 56335 w 198394"/>
                  <a:gd name="connsiteY3" fmla="*/ 1 h 97739"/>
                  <a:gd name="connsiteX4" fmla="*/ 56396 w 198394"/>
                  <a:gd name="connsiteY4" fmla="*/ 1 h 97739"/>
                  <a:gd name="connsiteX5" fmla="*/ 141937 w 198394"/>
                  <a:gd name="connsiteY5" fmla="*/ 1 h 97739"/>
                  <a:gd name="connsiteX6" fmla="*/ 198333 w 198394"/>
                  <a:gd name="connsiteY6" fmla="*/ 55651 h 97739"/>
                  <a:gd name="connsiteX7" fmla="*/ 198333 w 198394"/>
                  <a:gd name="connsiteY7" fmla="*/ 55712 h 97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8394" h="97739">
                    <a:moveTo>
                      <a:pt x="198394" y="97740"/>
                    </a:moveTo>
                    <a:lnTo>
                      <a:pt x="0" y="97740"/>
                    </a:lnTo>
                    <a:lnTo>
                      <a:pt x="0" y="55712"/>
                    </a:lnTo>
                    <a:cubicBezTo>
                      <a:pt x="165" y="24778"/>
                      <a:pt x="25387" y="-170"/>
                      <a:pt x="56335" y="1"/>
                    </a:cubicBezTo>
                    <a:cubicBezTo>
                      <a:pt x="56353" y="1"/>
                      <a:pt x="56378" y="1"/>
                      <a:pt x="56396" y="1"/>
                    </a:cubicBezTo>
                    <a:lnTo>
                      <a:pt x="141937" y="1"/>
                    </a:lnTo>
                    <a:cubicBezTo>
                      <a:pt x="172879" y="-200"/>
                      <a:pt x="198132" y="24711"/>
                      <a:pt x="198333" y="55651"/>
                    </a:cubicBezTo>
                    <a:cubicBezTo>
                      <a:pt x="198333" y="55670"/>
                      <a:pt x="198333" y="55694"/>
                      <a:pt x="198333" y="55712"/>
                    </a:cubicBezTo>
                    <a:close/>
                  </a:path>
                </a:pathLst>
              </a:custGeom>
              <a:solidFill>
                <a:schemeClr val="tx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21" name="Freihandform 520">
                <a:extLst>
                  <a:ext uri="{FF2B5EF4-FFF2-40B4-BE49-F238E27FC236}">
                    <a16:creationId xmlns:a16="http://schemas.microsoft.com/office/drawing/2014/main" id="{AEF533ED-EA9E-A041-A356-324CD7E81762}"/>
                  </a:ext>
                </a:extLst>
              </p:cNvPr>
              <p:cNvSpPr/>
              <p:nvPr/>
            </p:nvSpPr>
            <p:spPr>
              <a:xfrm>
                <a:off x="-1869424" y="411239"/>
                <a:ext cx="253507" cy="22724"/>
              </a:xfrm>
              <a:custGeom>
                <a:avLst/>
                <a:gdLst>
                  <a:gd name="connsiteX0" fmla="*/ 242143 w 253507"/>
                  <a:gd name="connsiteY0" fmla="*/ 22724 h 22724"/>
                  <a:gd name="connsiteX1" fmla="*/ 11365 w 253507"/>
                  <a:gd name="connsiteY1" fmla="*/ 22724 h 22724"/>
                  <a:gd name="connsiteX2" fmla="*/ 0 w 253507"/>
                  <a:gd name="connsiteY2" fmla="*/ 11362 h 22724"/>
                  <a:gd name="connsiteX3" fmla="*/ 11365 w 253507"/>
                  <a:gd name="connsiteY3" fmla="*/ 0 h 22724"/>
                  <a:gd name="connsiteX4" fmla="*/ 242143 w 253507"/>
                  <a:gd name="connsiteY4" fmla="*/ 0 h 22724"/>
                  <a:gd name="connsiteX5" fmla="*/ 253507 w 253507"/>
                  <a:gd name="connsiteY5" fmla="*/ 11362 h 22724"/>
                  <a:gd name="connsiteX6" fmla="*/ 242143 w 253507"/>
                  <a:gd name="connsiteY6" fmla="*/ 22724 h 22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3507" h="22724">
                    <a:moveTo>
                      <a:pt x="242143" y="22724"/>
                    </a:moveTo>
                    <a:lnTo>
                      <a:pt x="11365" y="22724"/>
                    </a:lnTo>
                    <a:cubicBezTo>
                      <a:pt x="5090" y="22724"/>
                      <a:pt x="0" y="17636"/>
                      <a:pt x="0" y="11362"/>
                    </a:cubicBezTo>
                    <a:cubicBezTo>
                      <a:pt x="0" y="5089"/>
                      <a:pt x="5090" y="0"/>
                      <a:pt x="11365" y="0"/>
                    </a:cubicBezTo>
                    <a:lnTo>
                      <a:pt x="242143" y="0"/>
                    </a:lnTo>
                    <a:cubicBezTo>
                      <a:pt x="248418" y="0"/>
                      <a:pt x="253507" y="5089"/>
                      <a:pt x="253507" y="11362"/>
                    </a:cubicBezTo>
                    <a:cubicBezTo>
                      <a:pt x="253507" y="17636"/>
                      <a:pt x="248418" y="22724"/>
                      <a:pt x="242143" y="22724"/>
                    </a:cubicBezTo>
                  </a:path>
                </a:pathLst>
              </a:custGeom>
              <a:solidFill>
                <a:schemeClr val="tx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22" name="Freihandform 521">
                <a:extLst>
                  <a:ext uri="{FF2B5EF4-FFF2-40B4-BE49-F238E27FC236}">
                    <a16:creationId xmlns:a16="http://schemas.microsoft.com/office/drawing/2014/main" id="{1A866B60-D7E4-484E-8108-5BD5FD004C3E}"/>
                  </a:ext>
                </a:extLst>
              </p:cNvPr>
              <p:cNvSpPr/>
              <p:nvPr/>
            </p:nvSpPr>
            <p:spPr>
              <a:xfrm>
                <a:off x="-1814006" y="398838"/>
                <a:ext cx="142914" cy="62003"/>
              </a:xfrm>
              <a:custGeom>
                <a:avLst/>
                <a:gdLst>
                  <a:gd name="connsiteX0" fmla="*/ 142915 w 142914"/>
                  <a:gd name="connsiteY0" fmla="*/ 62004 h 62003"/>
                  <a:gd name="connsiteX1" fmla="*/ 0 w 142914"/>
                  <a:gd name="connsiteY1" fmla="*/ 62004 h 62003"/>
                  <a:gd name="connsiteX2" fmla="*/ 0 w 142914"/>
                  <a:gd name="connsiteY2" fmla="*/ 32315 h 62003"/>
                  <a:gd name="connsiteX3" fmla="*/ 32750 w 142914"/>
                  <a:gd name="connsiteY3" fmla="*/ 1 h 62003"/>
                  <a:gd name="connsiteX4" fmla="*/ 110165 w 142914"/>
                  <a:gd name="connsiteY4" fmla="*/ 1 h 62003"/>
                  <a:gd name="connsiteX5" fmla="*/ 142915 w 142914"/>
                  <a:gd name="connsiteY5" fmla="*/ 32315 h 62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2914" h="62003">
                    <a:moveTo>
                      <a:pt x="142915" y="62004"/>
                    </a:moveTo>
                    <a:lnTo>
                      <a:pt x="0" y="62004"/>
                    </a:lnTo>
                    <a:lnTo>
                      <a:pt x="0" y="32315"/>
                    </a:lnTo>
                    <a:cubicBezTo>
                      <a:pt x="134" y="14356"/>
                      <a:pt x="14786" y="-103"/>
                      <a:pt x="32750" y="1"/>
                    </a:cubicBezTo>
                    <a:lnTo>
                      <a:pt x="110165" y="1"/>
                    </a:lnTo>
                    <a:cubicBezTo>
                      <a:pt x="128129" y="-103"/>
                      <a:pt x="142781" y="14356"/>
                      <a:pt x="142915" y="32315"/>
                    </a:cubicBezTo>
                    <a:close/>
                  </a:path>
                </a:pathLst>
              </a:custGeom>
              <a:solidFill>
                <a:srgbClr val="9D9D9C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495" name="Freihandform 494">
              <a:extLst>
                <a:ext uri="{FF2B5EF4-FFF2-40B4-BE49-F238E27FC236}">
                  <a16:creationId xmlns:a16="http://schemas.microsoft.com/office/drawing/2014/main" id="{398DDA75-4EA2-3841-9042-40E2EC0F1D95}"/>
                </a:ext>
              </a:extLst>
            </p:cNvPr>
            <p:cNvSpPr/>
            <p:nvPr/>
          </p:nvSpPr>
          <p:spPr>
            <a:xfrm>
              <a:off x="11659258" y="1687423"/>
              <a:ext cx="325327" cy="11682"/>
            </a:xfrm>
            <a:custGeom>
              <a:avLst/>
              <a:gdLst>
                <a:gd name="connsiteX0" fmla="*/ 0 w 170104"/>
                <a:gd name="connsiteY0" fmla="*/ 0 h 6108"/>
                <a:gd name="connsiteX1" fmla="*/ 170105 w 170104"/>
                <a:gd name="connsiteY1" fmla="*/ 0 h 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104" h="6108">
                  <a:moveTo>
                    <a:pt x="0" y="0"/>
                  </a:moveTo>
                  <a:lnTo>
                    <a:pt x="170105" y="0"/>
                  </a:lnTo>
                </a:path>
              </a:pathLst>
            </a:custGeom>
            <a:ln w="31750" cap="flat">
              <a:solidFill>
                <a:srgbClr val="1D1D1B"/>
              </a:solidFill>
              <a:prstDash val="sysDash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496" name="Grafik 5">
              <a:extLst>
                <a:ext uri="{FF2B5EF4-FFF2-40B4-BE49-F238E27FC236}">
                  <a16:creationId xmlns:a16="http://schemas.microsoft.com/office/drawing/2014/main" id="{DBAE8B25-2CC8-DC40-B01A-F7BF9AAAA322}"/>
                </a:ext>
              </a:extLst>
            </p:cNvPr>
            <p:cNvGrpSpPr/>
            <p:nvPr/>
          </p:nvGrpSpPr>
          <p:grpSpPr>
            <a:xfrm>
              <a:off x="10430162" y="1471755"/>
              <a:ext cx="484953" cy="268708"/>
              <a:chOff x="-2462164" y="367072"/>
              <a:chExt cx="253568" cy="140500"/>
            </a:xfrm>
          </p:grpSpPr>
          <p:sp>
            <p:nvSpPr>
              <p:cNvPr id="514" name="Freihandform 513">
                <a:extLst>
                  <a:ext uri="{FF2B5EF4-FFF2-40B4-BE49-F238E27FC236}">
                    <a16:creationId xmlns:a16="http://schemas.microsoft.com/office/drawing/2014/main" id="{9AEB3ACC-C1DB-084D-B235-6E70B819A9CC}"/>
                  </a:ext>
                </a:extLst>
              </p:cNvPr>
              <p:cNvSpPr/>
              <p:nvPr/>
            </p:nvSpPr>
            <p:spPr>
              <a:xfrm>
                <a:off x="-2434424" y="422784"/>
                <a:ext cx="198333" cy="84788"/>
              </a:xfrm>
              <a:custGeom>
                <a:avLst/>
                <a:gdLst>
                  <a:gd name="connsiteX0" fmla="*/ 0 w 198333"/>
                  <a:gd name="connsiteY0" fmla="*/ 0 h 84788"/>
                  <a:gd name="connsiteX1" fmla="*/ 198333 w 198333"/>
                  <a:gd name="connsiteY1" fmla="*/ 0 h 84788"/>
                  <a:gd name="connsiteX2" fmla="*/ 198333 w 198333"/>
                  <a:gd name="connsiteY2" fmla="*/ 51007 h 84788"/>
                  <a:gd name="connsiteX3" fmla="*/ 164178 w 198333"/>
                  <a:gd name="connsiteY3" fmla="*/ 84788 h 84788"/>
                  <a:gd name="connsiteX4" fmla="*/ 164178 w 198333"/>
                  <a:gd name="connsiteY4" fmla="*/ 84788 h 84788"/>
                  <a:gd name="connsiteX5" fmla="*/ 34155 w 198333"/>
                  <a:gd name="connsiteY5" fmla="*/ 84788 h 84788"/>
                  <a:gd name="connsiteX6" fmla="*/ 0 w 198333"/>
                  <a:gd name="connsiteY6" fmla="*/ 51007 h 84788"/>
                  <a:gd name="connsiteX7" fmla="*/ 0 w 198333"/>
                  <a:gd name="connsiteY7" fmla="*/ 51007 h 84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8333" h="84788">
                    <a:moveTo>
                      <a:pt x="0" y="0"/>
                    </a:moveTo>
                    <a:lnTo>
                      <a:pt x="198333" y="0"/>
                    </a:lnTo>
                    <a:lnTo>
                      <a:pt x="198333" y="51007"/>
                    </a:lnTo>
                    <a:cubicBezTo>
                      <a:pt x="198229" y="69767"/>
                      <a:pt x="182942" y="84892"/>
                      <a:pt x="164178" y="84788"/>
                    </a:cubicBezTo>
                    <a:cubicBezTo>
                      <a:pt x="164178" y="84788"/>
                      <a:pt x="164178" y="84788"/>
                      <a:pt x="164178" y="84788"/>
                    </a:cubicBezTo>
                    <a:lnTo>
                      <a:pt x="34155" y="84788"/>
                    </a:lnTo>
                    <a:cubicBezTo>
                      <a:pt x="15391" y="84892"/>
                      <a:pt x="104" y="69767"/>
                      <a:pt x="0" y="51007"/>
                    </a:cubicBezTo>
                    <a:cubicBezTo>
                      <a:pt x="0" y="51007"/>
                      <a:pt x="0" y="51007"/>
                      <a:pt x="0" y="5100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5" name="Freihandform 514">
                <a:extLst>
                  <a:ext uri="{FF2B5EF4-FFF2-40B4-BE49-F238E27FC236}">
                    <a16:creationId xmlns:a16="http://schemas.microsoft.com/office/drawing/2014/main" id="{2F33A0A5-369C-0349-B4F8-F88FC8310F18}"/>
                  </a:ext>
                </a:extLst>
              </p:cNvPr>
              <p:cNvSpPr/>
              <p:nvPr/>
            </p:nvSpPr>
            <p:spPr>
              <a:xfrm>
                <a:off x="-2434485" y="367072"/>
                <a:ext cx="198394" cy="97739"/>
              </a:xfrm>
              <a:custGeom>
                <a:avLst/>
                <a:gdLst>
                  <a:gd name="connsiteX0" fmla="*/ 198394 w 198394"/>
                  <a:gd name="connsiteY0" fmla="*/ 97740 h 97739"/>
                  <a:gd name="connsiteX1" fmla="*/ 0 w 198394"/>
                  <a:gd name="connsiteY1" fmla="*/ 97740 h 97739"/>
                  <a:gd name="connsiteX2" fmla="*/ 0 w 198394"/>
                  <a:gd name="connsiteY2" fmla="*/ 55712 h 97739"/>
                  <a:gd name="connsiteX3" fmla="*/ 56396 w 198394"/>
                  <a:gd name="connsiteY3" fmla="*/ 1 h 97739"/>
                  <a:gd name="connsiteX4" fmla="*/ 141937 w 198394"/>
                  <a:gd name="connsiteY4" fmla="*/ 1 h 97739"/>
                  <a:gd name="connsiteX5" fmla="*/ 198272 w 198394"/>
                  <a:gd name="connsiteY5" fmla="*/ 55712 h 97739"/>
                  <a:gd name="connsiteX6" fmla="*/ 198272 w 198394"/>
                  <a:gd name="connsiteY6" fmla="*/ 55712 h 97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8394" h="97739">
                    <a:moveTo>
                      <a:pt x="198394" y="97740"/>
                    </a:moveTo>
                    <a:lnTo>
                      <a:pt x="0" y="97740"/>
                    </a:lnTo>
                    <a:lnTo>
                      <a:pt x="0" y="55712"/>
                    </a:lnTo>
                    <a:cubicBezTo>
                      <a:pt x="202" y="24765"/>
                      <a:pt x="25442" y="-170"/>
                      <a:pt x="56396" y="1"/>
                    </a:cubicBezTo>
                    <a:lnTo>
                      <a:pt x="141937" y="1"/>
                    </a:lnTo>
                    <a:cubicBezTo>
                      <a:pt x="172879" y="-170"/>
                      <a:pt x="198101" y="24772"/>
                      <a:pt x="198272" y="55712"/>
                    </a:cubicBezTo>
                    <a:cubicBezTo>
                      <a:pt x="198272" y="55712"/>
                      <a:pt x="198272" y="55712"/>
                      <a:pt x="198272" y="55712"/>
                    </a:cubicBezTo>
                    <a:close/>
                  </a:path>
                </a:pathLst>
              </a:custGeom>
              <a:solidFill>
                <a:srgbClr val="FFDC9A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6" name="Freihandform 515">
                <a:extLst>
                  <a:ext uri="{FF2B5EF4-FFF2-40B4-BE49-F238E27FC236}">
                    <a16:creationId xmlns:a16="http://schemas.microsoft.com/office/drawing/2014/main" id="{02F6066B-F2D2-B446-BC0D-EBC3D87186BE}"/>
                  </a:ext>
                </a:extLst>
              </p:cNvPr>
              <p:cNvSpPr/>
              <p:nvPr/>
            </p:nvSpPr>
            <p:spPr>
              <a:xfrm>
                <a:off x="-2462164" y="411239"/>
                <a:ext cx="253568" cy="22724"/>
              </a:xfrm>
              <a:custGeom>
                <a:avLst/>
                <a:gdLst>
                  <a:gd name="connsiteX0" fmla="*/ 242204 w 253568"/>
                  <a:gd name="connsiteY0" fmla="*/ 22724 h 22724"/>
                  <a:gd name="connsiteX1" fmla="*/ 11365 w 253568"/>
                  <a:gd name="connsiteY1" fmla="*/ 22724 h 22724"/>
                  <a:gd name="connsiteX2" fmla="*/ 0 w 253568"/>
                  <a:gd name="connsiteY2" fmla="*/ 11362 h 22724"/>
                  <a:gd name="connsiteX3" fmla="*/ 11365 w 253568"/>
                  <a:gd name="connsiteY3" fmla="*/ 0 h 22724"/>
                  <a:gd name="connsiteX4" fmla="*/ 242204 w 253568"/>
                  <a:gd name="connsiteY4" fmla="*/ 0 h 22724"/>
                  <a:gd name="connsiteX5" fmla="*/ 253568 w 253568"/>
                  <a:gd name="connsiteY5" fmla="*/ 11362 h 22724"/>
                  <a:gd name="connsiteX6" fmla="*/ 242204 w 253568"/>
                  <a:gd name="connsiteY6" fmla="*/ 22724 h 22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3568" h="22724">
                    <a:moveTo>
                      <a:pt x="242204" y="22724"/>
                    </a:moveTo>
                    <a:lnTo>
                      <a:pt x="11365" y="22724"/>
                    </a:lnTo>
                    <a:cubicBezTo>
                      <a:pt x="5090" y="22724"/>
                      <a:pt x="0" y="17636"/>
                      <a:pt x="0" y="11362"/>
                    </a:cubicBezTo>
                    <a:cubicBezTo>
                      <a:pt x="0" y="5089"/>
                      <a:pt x="5090" y="0"/>
                      <a:pt x="11365" y="0"/>
                    </a:cubicBezTo>
                    <a:lnTo>
                      <a:pt x="242204" y="0"/>
                    </a:lnTo>
                    <a:cubicBezTo>
                      <a:pt x="248479" y="0"/>
                      <a:pt x="253568" y="5089"/>
                      <a:pt x="253568" y="11362"/>
                    </a:cubicBezTo>
                    <a:cubicBezTo>
                      <a:pt x="253568" y="17636"/>
                      <a:pt x="248479" y="22724"/>
                      <a:pt x="242204" y="22724"/>
                    </a:cubicBezTo>
                  </a:path>
                </a:pathLst>
              </a:custGeom>
              <a:solidFill>
                <a:srgbClr val="FFDC9A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7" name="Freihandform 516">
                <a:extLst>
                  <a:ext uri="{FF2B5EF4-FFF2-40B4-BE49-F238E27FC236}">
                    <a16:creationId xmlns:a16="http://schemas.microsoft.com/office/drawing/2014/main" id="{90AABA11-EE59-FC4B-B3F4-C73ADBF03AFC}"/>
                  </a:ext>
                </a:extLst>
              </p:cNvPr>
              <p:cNvSpPr/>
              <p:nvPr/>
            </p:nvSpPr>
            <p:spPr>
              <a:xfrm>
                <a:off x="-2406684" y="398838"/>
                <a:ext cx="142853" cy="62003"/>
              </a:xfrm>
              <a:custGeom>
                <a:avLst/>
                <a:gdLst>
                  <a:gd name="connsiteX0" fmla="*/ 142854 w 142853"/>
                  <a:gd name="connsiteY0" fmla="*/ 62004 h 62003"/>
                  <a:gd name="connsiteX1" fmla="*/ 0 w 142853"/>
                  <a:gd name="connsiteY1" fmla="*/ 62004 h 62003"/>
                  <a:gd name="connsiteX2" fmla="*/ 0 w 142853"/>
                  <a:gd name="connsiteY2" fmla="*/ 32315 h 62003"/>
                  <a:gd name="connsiteX3" fmla="*/ 32689 w 142853"/>
                  <a:gd name="connsiteY3" fmla="*/ 1 h 62003"/>
                  <a:gd name="connsiteX4" fmla="*/ 32689 w 142853"/>
                  <a:gd name="connsiteY4" fmla="*/ 1 h 62003"/>
                  <a:gd name="connsiteX5" fmla="*/ 110165 w 142853"/>
                  <a:gd name="connsiteY5" fmla="*/ 1 h 62003"/>
                  <a:gd name="connsiteX6" fmla="*/ 142854 w 142853"/>
                  <a:gd name="connsiteY6" fmla="*/ 32315 h 62003"/>
                  <a:gd name="connsiteX7" fmla="*/ 142854 w 142853"/>
                  <a:gd name="connsiteY7" fmla="*/ 32315 h 62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2853" h="62003">
                    <a:moveTo>
                      <a:pt x="142854" y="62004"/>
                    </a:moveTo>
                    <a:lnTo>
                      <a:pt x="0" y="62004"/>
                    </a:lnTo>
                    <a:lnTo>
                      <a:pt x="0" y="32315"/>
                    </a:lnTo>
                    <a:cubicBezTo>
                      <a:pt x="104" y="14368"/>
                      <a:pt x="14737" y="-103"/>
                      <a:pt x="32689" y="1"/>
                    </a:cubicBezTo>
                    <a:cubicBezTo>
                      <a:pt x="32689" y="1"/>
                      <a:pt x="32689" y="1"/>
                      <a:pt x="32689" y="1"/>
                    </a:cubicBezTo>
                    <a:lnTo>
                      <a:pt x="110165" y="1"/>
                    </a:lnTo>
                    <a:cubicBezTo>
                      <a:pt x="128116" y="-103"/>
                      <a:pt x="142750" y="14368"/>
                      <a:pt x="142854" y="32315"/>
                    </a:cubicBezTo>
                    <a:cubicBezTo>
                      <a:pt x="142854" y="32315"/>
                      <a:pt x="142854" y="32315"/>
                      <a:pt x="142854" y="32315"/>
                    </a:cubicBezTo>
                    <a:close/>
                  </a:path>
                </a:pathLst>
              </a:custGeom>
              <a:solidFill>
                <a:schemeClr val="tx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sp>
          <p:nvSpPr>
            <p:cNvPr id="497" name="Freihandform 496">
              <a:extLst>
                <a:ext uri="{FF2B5EF4-FFF2-40B4-BE49-F238E27FC236}">
                  <a16:creationId xmlns:a16="http://schemas.microsoft.com/office/drawing/2014/main" id="{13D6813E-F9C8-D04C-8437-37AEAB0198F4}"/>
                </a:ext>
              </a:extLst>
            </p:cNvPr>
            <p:cNvSpPr/>
            <p:nvPr/>
          </p:nvSpPr>
          <p:spPr>
            <a:xfrm>
              <a:off x="10525752" y="1687423"/>
              <a:ext cx="326378" cy="11682"/>
            </a:xfrm>
            <a:custGeom>
              <a:avLst/>
              <a:gdLst>
                <a:gd name="connsiteX0" fmla="*/ 0 w 170654"/>
                <a:gd name="connsiteY0" fmla="*/ 0 h 6108"/>
                <a:gd name="connsiteX1" fmla="*/ 170655 w 170654"/>
                <a:gd name="connsiteY1" fmla="*/ 0 h 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654" h="6108">
                  <a:moveTo>
                    <a:pt x="0" y="0"/>
                  </a:moveTo>
                  <a:lnTo>
                    <a:pt x="170655" y="0"/>
                  </a:lnTo>
                </a:path>
              </a:pathLst>
            </a:custGeom>
            <a:ln w="31750" cap="flat">
              <a:solidFill>
                <a:srgbClr val="1D1D1B"/>
              </a:solidFill>
              <a:prstDash val="sysDash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498" name="Grafik 5">
              <a:extLst>
                <a:ext uri="{FF2B5EF4-FFF2-40B4-BE49-F238E27FC236}">
                  <a16:creationId xmlns:a16="http://schemas.microsoft.com/office/drawing/2014/main" id="{75E78766-B644-BC4A-BF5D-0F146D4A4BFB}"/>
                </a:ext>
              </a:extLst>
            </p:cNvPr>
            <p:cNvGrpSpPr/>
            <p:nvPr/>
          </p:nvGrpSpPr>
          <p:grpSpPr>
            <a:xfrm>
              <a:off x="10997034" y="1471755"/>
              <a:ext cx="485303" cy="268710"/>
              <a:chOff x="-2165763" y="367072"/>
              <a:chExt cx="253751" cy="140501"/>
            </a:xfrm>
          </p:grpSpPr>
          <p:sp>
            <p:nvSpPr>
              <p:cNvPr id="510" name="Freihandform 509">
                <a:extLst>
                  <a:ext uri="{FF2B5EF4-FFF2-40B4-BE49-F238E27FC236}">
                    <a16:creationId xmlns:a16="http://schemas.microsoft.com/office/drawing/2014/main" id="{AB6D8B0A-9FD4-E844-9757-2B38D633612E}"/>
                  </a:ext>
                </a:extLst>
              </p:cNvPr>
              <p:cNvSpPr/>
              <p:nvPr/>
            </p:nvSpPr>
            <p:spPr>
              <a:xfrm>
                <a:off x="-2138085" y="422784"/>
                <a:ext cx="198394" cy="84789"/>
              </a:xfrm>
              <a:custGeom>
                <a:avLst/>
                <a:gdLst>
                  <a:gd name="connsiteX0" fmla="*/ 0 w 198394"/>
                  <a:gd name="connsiteY0" fmla="*/ 0 h 84789"/>
                  <a:gd name="connsiteX1" fmla="*/ 198394 w 198394"/>
                  <a:gd name="connsiteY1" fmla="*/ 0 h 84789"/>
                  <a:gd name="connsiteX2" fmla="*/ 198394 w 198394"/>
                  <a:gd name="connsiteY2" fmla="*/ 51007 h 84789"/>
                  <a:gd name="connsiteX3" fmla="*/ 164178 w 198394"/>
                  <a:gd name="connsiteY3" fmla="*/ 84788 h 84789"/>
                  <a:gd name="connsiteX4" fmla="*/ 34217 w 198394"/>
                  <a:gd name="connsiteY4" fmla="*/ 84788 h 84789"/>
                  <a:gd name="connsiteX5" fmla="*/ 0 w 198394"/>
                  <a:gd name="connsiteY5" fmla="*/ 51068 h 84789"/>
                  <a:gd name="connsiteX6" fmla="*/ 0 w 198394"/>
                  <a:gd name="connsiteY6" fmla="*/ 51007 h 84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8394" h="84789">
                    <a:moveTo>
                      <a:pt x="0" y="0"/>
                    </a:moveTo>
                    <a:lnTo>
                      <a:pt x="198394" y="0"/>
                    </a:lnTo>
                    <a:lnTo>
                      <a:pt x="198394" y="51007"/>
                    </a:lnTo>
                    <a:cubicBezTo>
                      <a:pt x="198260" y="69773"/>
                      <a:pt x="182948" y="84892"/>
                      <a:pt x="164178" y="84788"/>
                    </a:cubicBezTo>
                    <a:lnTo>
                      <a:pt x="34217" y="84788"/>
                    </a:lnTo>
                    <a:cubicBezTo>
                      <a:pt x="15452" y="84923"/>
                      <a:pt x="134" y="69828"/>
                      <a:pt x="0" y="51068"/>
                    </a:cubicBezTo>
                    <a:cubicBezTo>
                      <a:pt x="0" y="51050"/>
                      <a:pt x="0" y="51026"/>
                      <a:pt x="0" y="5100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1" name="Freihandform 510">
                <a:extLst>
                  <a:ext uri="{FF2B5EF4-FFF2-40B4-BE49-F238E27FC236}">
                    <a16:creationId xmlns:a16="http://schemas.microsoft.com/office/drawing/2014/main" id="{09F3630C-127E-6B4F-BC61-860B000D8613}"/>
                  </a:ext>
                </a:extLst>
              </p:cNvPr>
              <p:cNvSpPr/>
              <p:nvPr/>
            </p:nvSpPr>
            <p:spPr>
              <a:xfrm>
                <a:off x="-2138085" y="367072"/>
                <a:ext cx="198394" cy="97739"/>
              </a:xfrm>
              <a:custGeom>
                <a:avLst/>
                <a:gdLst>
                  <a:gd name="connsiteX0" fmla="*/ 198394 w 198394"/>
                  <a:gd name="connsiteY0" fmla="*/ 97740 h 97739"/>
                  <a:gd name="connsiteX1" fmla="*/ 0 w 198394"/>
                  <a:gd name="connsiteY1" fmla="*/ 97740 h 97739"/>
                  <a:gd name="connsiteX2" fmla="*/ 0 w 198394"/>
                  <a:gd name="connsiteY2" fmla="*/ 55712 h 97739"/>
                  <a:gd name="connsiteX3" fmla="*/ 56335 w 198394"/>
                  <a:gd name="connsiteY3" fmla="*/ 1 h 97739"/>
                  <a:gd name="connsiteX4" fmla="*/ 56335 w 198394"/>
                  <a:gd name="connsiteY4" fmla="*/ 1 h 97739"/>
                  <a:gd name="connsiteX5" fmla="*/ 141876 w 198394"/>
                  <a:gd name="connsiteY5" fmla="*/ 1 h 97739"/>
                  <a:gd name="connsiteX6" fmla="*/ 198272 w 198394"/>
                  <a:gd name="connsiteY6" fmla="*/ 55651 h 97739"/>
                  <a:gd name="connsiteX7" fmla="*/ 198272 w 198394"/>
                  <a:gd name="connsiteY7" fmla="*/ 55712 h 97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8394" h="97739">
                    <a:moveTo>
                      <a:pt x="198394" y="97740"/>
                    </a:moveTo>
                    <a:lnTo>
                      <a:pt x="0" y="97740"/>
                    </a:lnTo>
                    <a:lnTo>
                      <a:pt x="0" y="55712"/>
                    </a:lnTo>
                    <a:cubicBezTo>
                      <a:pt x="171" y="24778"/>
                      <a:pt x="25387" y="-170"/>
                      <a:pt x="56335" y="1"/>
                    </a:cubicBezTo>
                    <a:cubicBezTo>
                      <a:pt x="56335" y="1"/>
                      <a:pt x="56335" y="1"/>
                      <a:pt x="56335" y="1"/>
                    </a:cubicBezTo>
                    <a:lnTo>
                      <a:pt x="141876" y="1"/>
                    </a:lnTo>
                    <a:cubicBezTo>
                      <a:pt x="172818" y="-200"/>
                      <a:pt x="198071" y="24711"/>
                      <a:pt x="198272" y="55651"/>
                    </a:cubicBezTo>
                    <a:cubicBezTo>
                      <a:pt x="198272" y="55670"/>
                      <a:pt x="198272" y="55694"/>
                      <a:pt x="198272" y="55712"/>
                    </a:cubicBezTo>
                    <a:close/>
                  </a:path>
                </a:pathLst>
              </a:custGeom>
              <a:solidFill>
                <a:srgbClr val="FFDC9A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2" name="Freihandform 511">
                <a:extLst>
                  <a:ext uri="{FF2B5EF4-FFF2-40B4-BE49-F238E27FC236}">
                    <a16:creationId xmlns:a16="http://schemas.microsoft.com/office/drawing/2014/main" id="{1D83CCF8-583D-3646-A6F0-2F652622ACAA}"/>
                  </a:ext>
                </a:extLst>
              </p:cNvPr>
              <p:cNvSpPr/>
              <p:nvPr/>
            </p:nvSpPr>
            <p:spPr>
              <a:xfrm>
                <a:off x="-2165763" y="411239"/>
                <a:ext cx="253751" cy="22724"/>
              </a:xfrm>
              <a:custGeom>
                <a:avLst/>
                <a:gdLst>
                  <a:gd name="connsiteX0" fmla="*/ 242387 w 253751"/>
                  <a:gd name="connsiteY0" fmla="*/ 22724 h 22724"/>
                  <a:gd name="connsiteX1" fmla="*/ 11365 w 253751"/>
                  <a:gd name="connsiteY1" fmla="*/ 22724 h 22724"/>
                  <a:gd name="connsiteX2" fmla="*/ 0 w 253751"/>
                  <a:gd name="connsiteY2" fmla="*/ 11362 h 22724"/>
                  <a:gd name="connsiteX3" fmla="*/ 11365 w 253751"/>
                  <a:gd name="connsiteY3" fmla="*/ 0 h 22724"/>
                  <a:gd name="connsiteX4" fmla="*/ 242387 w 253751"/>
                  <a:gd name="connsiteY4" fmla="*/ 0 h 22724"/>
                  <a:gd name="connsiteX5" fmla="*/ 253752 w 253751"/>
                  <a:gd name="connsiteY5" fmla="*/ 11362 h 22724"/>
                  <a:gd name="connsiteX6" fmla="*/ 242387 w 253751"/>
                  <a:gd name="connsiteY6" fmla="*/ 22724 h 22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3751" h="22724">
                    <a:moveTo>
                      <a:pt x="242387" y="22724"/>
                    </a:moveTo>
                    <a:lnTo>
                      <a:pt x="11365" y="22724"/>
                    </a:lnTo>
                    <a:cubicBezTo>
                      <a:pt x="5090" y="22724"/>
                      <a:pt x="0" y="17636"/>
                      <a:pt x="0" y="11362"/>
                    </a:cubicBezTo>
                    <a:cubicBezTo>
                      <a:pt x="0" y="5089"/>
                      <a:pt x="5090" y="0"/>
                      <a:pt x="11365" y="0"/>
                    </a:cubicBezTo>
                    <a:lnTo>
                      <a:pt x="242387" y="0"/>
                    </a:lnTo>
                    <a:cubicBezTo>
                      <a:pt x="248662" y="0"/>
                      <a:pt x="253752" y="5089"/>
                      <a:pt x="253752" y="11362"/>
                    </a:cubicBezTo>
                    <a:cubicBezTo>
                      <a:pt x="253752" y="17636"/>
                      <a:pt x="248662" y="22724"/>
                      <a:pt x="242387" y="22724"/>
                    </a:cubicBezTo>
                  </a:path>
                </a:pathLst>
              </a:custGeom>
              <a:solidFill>
                <a:srgbClr val="FFDC9A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3" name="Freihandform 512">
                <a:extLst>
                  <a:ext uri="{FF2B5EF4-FFF2-40B4-BE49-F238E27FC236}">
                    <a16:creationId xmlns:a16="http://schemas.microsoft.com/office/drawing/2014/main" id="{4093A1AF-D480-8E46-B238-0B0505B9D06E}"/>
                  </a:ext>
                </a:extLst>
              </p:cNvPr>
              <p:cNvSpPr/>
              <p:nvPr/>
            </p:nvSpPr>
            <p:spPr>
              <a:xfrm>
                <a:off x="-2110345" y="398838"/>
                <a:ext cx="143037" cy="62003"/>
              </a:xfrm>
              <a:custGeom>
                <a:avLst/>
                <a:gdLst>
                  <a:gd name="connsiteX0" fmla="*/ 142854 w 143037"/>
                  <a:gd name="connsiteY0" fmla="*/ 62004 h 62003"/>
                  <a:gd name="connsiteX1" fmla="*/ 0 w 143037"/>
                  <a:gd name="connsiteY1" fmla="*/ 62004 h 62003"/>
                  <a:gd name="connsiteX2" fmla="*/ 0 w 143037"/>
                  <a:gd name="connsiteY2" fmla="*/ 32315 h 62003"/>
                  <a:gd name="connsiteX3" fmla="*/ 32689 w 143037"/>
                  <a:gd name="connsiteY3" fmla="*/ 1 h 62003"/>
                  <a:gd name="connsiteX4" fmla="*/ 32689 w 143037"/>
                  <a:gd name="connsiteY4" fmla="*/ 1 h 62003"/>
                  <a:gd name="connsiteX5" fmla="*/ 110348 w 143037"/>
                  <a:gd name="connsiteY5" fmla="*/ 1 h 62003"/>
                  <a:gd name="connsiteX6" fmla="*/ 143037 w 143037"/>
                  <a:gd name="connsiteY6" fmla="*/ 32315 h 62003"/>
                  <a:gd name="connsiteX7" fmla="*/ 143037 w 143037"/>
                  <a:gd name="connsiteY7" fmla="*/ 32315 h 62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3037" h="62003">
                    <a:moveTo>
                      <a:pt x="142854" y="62004"/>
                    </a:moveTo>
                    <a:lnTo>
                      <a:pt x="0" y="62004"/>
                    </a:lnTo>
                    <a:lnTo>
                      <a:pt x="0" y="32315"/>
                    </a:lnTo>
                    <a:cubicBezTo>
                      <a:pt x="104" y="14368"/>
                      <a:pt x="14737" y="-103"/>
                      <a:pt x="32689" y="1"/>
                    </a:cubicBezTo>
                    <a:cubicBezTo>
                      <a:pt x="32689" y="1"/>
                      <a:pt x="32689" y="1"/>
                      <a:pt x="32689" y="1"/>
                    </a:cubicBezTo>
                    <a:lnTo>
                      <a:pt x="110348" y="1"/>
                    </a:lnTo>
                    <a:cubicBezTo>
                      <a:pt x="128299" y="-103"/>
                      <a:pt x="142933" y="14368"/>
                      <a:pt x="143037" y="32315"/>
                    </a:cubicBezTo>
                    <a:cubicBezTo>
                      <a:pt x="143037" y="32315"/>
                      <a:pt x="143037" y="32315"/>
                      <a:pt x="143037" y="32315"/>
                    </a:cubicBezTo>
                    <a:close/>
                  </a:path>
                </a:pathLst>
              </a:custGeom>
              <a:solidFill>
                <a:schemeClr val="tx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499" name="Freihandform 498">
              <a:extLst>
                <a:ext uri="{FF2B5EF4-FFF2-40B4-BE49-F238E27FC236}">
                  <a16:creationId xmlns:a16="http://schemas.microsoft.com/office/drawing/2014/main" id="{25851C98-94F7-3844-A0A7-4C725C978A62}"/>
                </a:ext>
              </a:extLst>
            </p:cNvPr>
            <p:cNvSpPr/>
            <p:nvPr/>
          </p:nvSpPr>
          <p:spPr>
            <a:xfrm>
              <a:off x="11092505" y="1683686"/>
              <a:ext cx="318082" cy="11682"/>
            </a:xfrm>
            <a:custGeom>
              <a:avLst/>
              <a:gdLst>
                <a:gd name="connsiteX0" fmla="*/ 0 w 166316"/>
                <a:gd name="connsiteY0" fmla="*/ 0 h 6108"/>
                <a:gd name="connsiteX1" fmla="*/ 166317 w 166316"/>
                <a:gd name="connsiteY1" fmla="*/ 0 h 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6316" h="6108">
                  <a:moveTo>
                    <a:pt x="0" y="0"/>
                  </a:moveTo>
                  <a:lnTo>
                    <a:pt x="166317" y="0"/>
                  </a:lnTo>
                </a:path>
              </a:pathLst>
            </a:custGeom>
            <a:ln w="31750" cap="flat">
              <a:solidFill>
                <a:srgbClr val="1D1D1B"/>
              </a:solidFill>
              <a:prstDash val="sysDash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0" name="Freihandform 499">
              <a:extLst>
                <a:ext uri="{FF2B5EF4-FFF2-40B4-BE49-F238E27FC236}">
                  <a16:creationId xmlns:a16="http://schemas.microsoft.com/office/drawing/2014/main" id="{34FA6732-EFEC-FF4B-B2E9-F608C3D6E7F4}"/>
                </a:ext>
              </a:extLst>
            </p:cNvPr>
            <p:cNvSpPr/>
            <p:nvPr/>
          </p:nvSpPr>
          <p:spPr>
            <a:xfrm>
              <a:off x="12121543" y="930365"/>
              <a:ext cx="534032" cy="227822"/>
            </a:xfrm>
            <a:custGeom>
              <a:avLst/>
              <a:gdLst>
                <a:gd name="connsiteX0" fmla="*/ 278864 w 279230"/>
                <a:gd name="connsiteY0" fmla="*/ 119123 h 119122"/>
                <a:gd name="connsiteX1" fmla="*/ 0 w 279230"/>
                <a:gd name="connsiteY1" fmla="*/ 119123 h 119122"/>
                <a:gd name="connsiteX2" fmla="*/ 0 w 279230"/>
                <a:gd name="connsiteY2" fmla="*/ 78256 h 119122"/>
                <a:gd name="connsiteX3" fmla="*/ 79120 w 279230"/>
                <a:gd name="connsiteY3" fmla="*/ 1 h 119122"/>
                <a:gd name="connsiteX4" fmla="*/ 79431 w 279230"/>
                <a:gd name="connsiteY4" fmla="*/ 4 h 119122"/>
                <a:gd name="connsiteX5" fmla="*/ 199800 w 279230"/>
                <a:gd name="connsiteY5" fmla="*/ 4 h 119122"/>
                <a:gd name="connsiteX6" fmla="*/ 279231 w 279230"/>
                <a:gd name="connsiteY6" fmla="*/ 78068 h 119122"/>
                <a:gd name="connsiteX7" fmla="*/ 279231 w 279230"/>
                <a:gd name="connsiteY7" fmla="*/ 78256 h 119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9230" h="119122">
                  <a:moveTo>
                    <a:pt x="278864" y="119123"/>
                  </a:moveTo>
                  <a:lnTo>
                    <a:pt x="0" y="119123"/>
                  </a:lnTo>
                  <a:lnTo>
                    <a:pt x="0" y="78256"/>
                  </a:lnTo>
                  <a:cubicBezTo>
                    <a:pt x="232" y="34803"/>
                    <a:pt x="35658" y="-233"/>
                    <a:pt x="79120" y="1"/>
                  </a:cubicBezTo>
                  <a:cubicBezTo>
                    <a:pt x="79223" y="2"/>
                    <a:pt x="79327" y="2"/>
                    <a:pt x="79431" y="4"/>
                  </a:cubicBezTo>
                  <a:lnTo>
                    <a:pt x="199800" y="4"/>
                  </a:lnTo>
                  <a:cubicBezTo>
                    <a:pt x="243298" y="-368"/>
                    <a:pt x="278858" y="34582"/>
                    <a:pt x="279231" y="78068"/>
                  </a:cubicBezTo>
                  <a:cubicBezTo>
                    <a:pt x="279231" y="78130"/>
                    <a:pt x="279231" y="78193"/>
                    <a:pt x="279231" y="78256"/>
                  </a:cubicBezTo>
                  <a:close/>
                </a:path>
              </a:pathLst>
            </a:custGeom>
            <a:solidFill>
              <a:srgbClr val="1D1D1B"/>
            </a:solidFill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1" name="Freihandform 500">
              <a:extLst>
                <a:ext uri="{FF2B5EF4-FFF2-40B4-BE49-F238E27FC236}">
                  <a16:creationId xmlns:a16="http://schemas.microsoft.com/office/drawing/2014/main" id="{46008F01-3145-6940-93EB-EABE66262A90}"/>
                </a:ext>
              </a:extLst>
            </p:cNvPr>
            <p:cNvSpPr/>
            <p:nvPr/>
          </p:nvSpPr>
          <p:spPr>
            <a:xfrm>
              <a:off x="12119438" y="1096387"/>
              <a:ext cx="535084" cy="94515"/>
            </a:xfrm>
            <a:custGeom>
              <a:avLst/>
              <a:gdLst>
                <a:gd name="connsiteX0" fmla="*/ 0 w 279780"/>
                <a:gd name="connsiteY0" fmla="*/ 0 h 49419"/>
                <a:gd name="connsiteX1" fmla="*/ 279781 w 279780"/>
                <a:gd name="connsiteY1" fmla="*/ 0 h 49419"/>
                <a:gd name="connsiteX2" fmla="*/ 279781 w 279780"/>
                <a:gd name="connsiteY2" fmla="*/ 49419 h 49419"/>
                <a:gd name="connsiteX3" fmla="*/ 0 w 279780"/>
                <a:gd name="connsiteY3" fmla="*/ 49419 h 49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9780" h="49419">
                  <a:moveTo>
                    <a:pt x="0" y="0"/>
                  </a:moveTo>
                  <a:lnTo>
                    <a:pt x="279781" y="0"/>
                  </a:lnTo>
                  <a:lnTo>
                    <a:pt x="279781" y="49419"/>
                  </a:lnTo>
                  <a:lnTo>
                    <a:pt x="0" y="49419"/>
                  </a:lnTo>
                  <a:close/>
                </a:path>
              </a:pathLst>
            </a:custGeom>
            <a:solidFill>
              <a:schemeClr val="accent1"/>
            </a:solidFill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2" name="Freihandform 501">
              <a:extLst>
                <a:ext uri="{FF2B5EF4-FFF2-40B4-BE49-F238E27FC236}">
                  <a16:creationId xmlns:a16="http://schemas.microsoft.com/office/drawing/2014/main" id="{58025D53-44D5-DF42-8C6B-4FFED7BF0B7B}"/>
                </a:ext>
              </a:extLst>
            </p:cNvPr>
            <p:cNvSpPr/>
            <p:nvPr/>
          </p:nvSpPr>
          <p:spPr>
            <a:xfrm>
              <a:off x="12130307" y="1146506"/>
              <a:ext cx="524567" cy="11682"/>
            </a:xfrm>
            <a:custGeom>
              <a:avLst/>
              <a:gdLst>
                <a:gd name="connsiteX0" fmla="*/ 0 w 274281"/>
                <a:gd name="connsiteY0" fmla="*/ 0 h 6108"/>
                <a:gd name="connsiteX1" fmla="*/ 274282 w 274281"/>
                <a:gd name="connsiteY1" fmla="*/ 0 h 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4281" h="6108">
                  <a:moveTo>
                    <a:pt x="0" y="0"/>
                  </a:moveTo>
                  <a:lnTo>
                    <a:pt x="274282" y="0"/>
                  </a:lnTo>
                </a:path>
              </a:pathLst>
            </a:custGeom>
            <a:ln w="31750" cap="flat">
              <a:solidFill>
                <a:srgbClr val="1D1D1B"/>
              </a:solidFill>
              <a:prstDash val="sysDash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3" name="Freihandform 502">
              <a:extLst>
                <a:ext uri="{FF2B5EF4-FFF2-40B4-BE49-F238E27FC236}">
                  <a16:creationId xmlns:a16="http://schemas.microsoft.com/office/drawing/2014/main" id="{B54ECB82-3F9F-854D-9151-CBB83C46E972}"/>
                </a:ext>
              </a:extLst>
            </p:cNvPr>
            <p:cNvSpPr/>
            <p:nvPr/>
          </p:nvSpPr>
          <p:spPr>
            <a:xfrm>
              <a:off x="10663526" y="1177932"/>
              <a:ext cx="1733212" cy="677140"/>
            </a:xfrm>
            <a:custGeom>
              <a:avLst/>
              <a:gdLst>
                <a:gd name="connsiteX0" fmla="*/ 906248 w 906247"/>
                <a:gd name="connsiteY0" fmla="*/ 0 h 354058"/>
                <a:gd name="connsiteX1" fmla="*/ 906248 w 906247"/>
                <a:gd name="connsiteY1" fmla="*/ 354058 h 354058"/>
                <a:gd name="connsiteX2" fmla="*/ 87436 w 906247"/>
                <a:gd name="connsiteY2" fmla="*/ 354058 h 354058"/>
                <a:gd name="connsiteX3" fmla="*/ 0 w 906247"/>
                <a:gd name="connsiteY3" fmla="*/ 354058 h 354058"/>
                <a:gd name="connsiteX4" fmla="*/ 0 w 906247"/>
                <a:gd name="connsiteY4" fmla="*/ 295232 h 354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6247" h="354058">
                  <a:moveTo>
                    <a:pt x="906248" y="0"/>
                  </a:moveTo>
                  <a:lnTo>
                    <a:pt x="906248" y="354058"/>
                  </a:lnTo>
                  <a:lnTo>
                    <a:pt x="87436" y="354058"/>
                  </a:lnTo>
                  <a:lnTo>
                    <a:pt x="0" y="354058"/>
                  </a:lnTo>
                  <a:lnTo>
                    <a:pt x="0" y="295232"/>
                  </a:lnTo>
                </a:path>
              </a:pathLst>
            </a:custGeom>
            <a:noFill/>
            <a:ln w="12700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04" name="Grafik 5">
              <a:extLst>
                <a:ext uri="{FF2B5EF4-FFF2-40B4-BE49-F238E27FC236}">
                  <a16:creationId xmlns:a16="http://schemas.microsoft.com/office/drawing/2014/main" id="{3D0A3004-D802-3B48-9FEF-0B02B9A00249}"/>
                </a:ext>
              </a:extLst>
            </p:cNvPr>
            <p:cNvGrpSpPr/>
            <p:nvPr/>
          </p:nvGrpSpPr>
          <p:grpSpPr>
            <a:xfrm>
              <a:off x="12130541" y="1471755"/>
              <a:ext cx="485303" cy="268708"/>
              <a:chOff x="-1573085" y="367072"/>
              <a:chExt cx="253751" cy="140500"/>
            </a:xfrm>
          </p:grpSpPr>
          <p:sp>
            <p:nvSpPr>
              <p:cNvPr id="506" name="Freihandform 505">
                <a:extLst>
                  <a:ext uri="{FF2B5EF4-FFF2-40B4-BE49-F238E27FC236}">
                    <a16:creationId xmlns:a16="http://schemas.microsoft.com/office/drawing/2014/main" id="{51A0A6BE-B282-A040-AD48-8F5C70A0A8EC}"/>
                  </a:ext>
                </a:extLst>
              </p:cNvPr>
              <p:cNvSpPr/>
              <p:nvPr/>
            </p:nvSpPr>
            <p:spPr>
              <a:xfrm>
                <a:off x="-1545406" y="422784"/>
                <a:ext cx="198394" cy="84788"/>
              </a:xfrm>
              <a:custGeom>
                <a:avLst/>
                <a:gdLst>
                  <a:gd name="connsiteX0" fmla="*/ 0 w 198394"/>
                  <a:gd name="connsiteY0" fmla="*/ 0 h 84788"/>
                  <a:gd name="connsiteX1" fmla="*/ 198394 w 198394"/>
                  <a:gd name="connsiteY1" fmla="*/ 0 h 84788"/>
                  <a:gd name="connsiteX2" fmla="*/ 198394 w 198394"/>
                  <a:gd name="connsiteY2" fmla="*/ 51007 h 84788"/>
                  <a:gd name="connsiteX3" fmla="*/ 164239 w 198394"/>
                  <a:gd name="connsiteY3" fmla="*/ 84788 h 84788"/>
                  <a:gd name="connsiteX4" fmla="*/ 164178 w 198394"/>
                  <a:gd name="connsiteY4" fmla="*/ 84788 h 84788"/>
                  <a:gd name="connsiteX5" fmla="*/ 34217 w 198394"/>
                  <a:gd name="connsiteY5" fmla="*/ 84788 h 84788"/>
                  <a:gd name="connsiteX6" fmla="*/ 0 w 198394"/>
                  <a:gd name="connsiteY6" fmla="*/ 51007 h 84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8394" h="84788">
                    <a:moveTo>
                      <a:pt x="0" y="0"/>
                    </a:moveTo>
                    <a:lnTo>
                      <a:pt x="198394" y="0"/>
                    </a:lnTo>
                    <a:lnTo>
                      <a:pt x="198394" y="51007"/>
                    </a:lnTo>
                    <a:cubicBezTo>
                      <a:pt x="198297" y="69767"/>
                      <a:pt x="183003" y="84892"/>
                      <a:pt x="164239" y="84788"/>
                    </a:cubicBezTo>
                    <a:cubicBezTo>
                      <a:pt x="164221" y="84788"/>
                      <a:pt x="164196" y="84788"/>
                      <a:pt x="164178" y="84788"/>
                    </a:cubicBezTo>
                    <a:lnTo>
                      <a:pt x="34217" y="84788"/>
                    </a:lnTo>
                    <a:cubicBezTo>
                      <a:pt x="15446" y="84892"/>
                      <a:pt x="134" y="69773"/>
                      <a:pt x="0" y="5100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07" name="Freihandform 506">
                <a:extLst>
                  <a:ext uri="{FF2B5EF4-FFF2-40B4-BE49-F238E27FC236}">
                    <a16:creationId xmlns:a16="http://schemas.microsoft.com/office/drawing/2014/main" id="{60A7E5AF-D1AE-4D40-B4CB-D61DA164BE8B}"/>
                  </a:ext>
                </a:extLst>
              </p:cNvPr>
              <p:cNvSpPr/>
              <p:nvPr/>
            </p:nvSpPr>
            <p:spPr>
              <a:xfrm>
                <a:off x="-1545406" y="367072"/>
                <a:ext cx="198394" cy="97739"/>
              </a:xfrm>
              <a:custGeom>
                <a:avLst/>
                <a:gdLst>
                  <a:gd name="connsiteX0" fmla="*/ 198394 w 198394"/>
                  <a:gd name="connsiteY0" fmla="*/ 97740 h 97739"/>
                  <a:gd name="connsiteX1" fmla="*/ 0 w 198394"/>
                  <a:gd name="connsiteY1" fmla="*/ 97740 h 97739"/>
                  <a:gd name="connsiteX2" fmla="*/ 0 w 198394"/>
                  <a:gd name="connsiteY2" fmla="*/ 55712 h 97739"/>
                  <a:gd name="connsiteX3" fmla="*/ 56335 w 198394"/>
                  <a:gd name="connsiteY3" fmla="*/ 1 h 97739"/>
                  <a:gd name="connsiteX4" fmla="*/ 56396 w 198394"/>
                  <a:gd name="connsiteY4" fmla="*/ 1 h 97739"/>
                  <a:gd name="connsiteX5" fmla="*/ 141937 w 198394"/>
                  <a:gd name="connsiteY5" fmla="*/ 1 h 97739"/>
                  <a:gd name="connsiteX6" fmla="*/ 198272 w 198394"/>
                  <a:gd name="connsiteY6" fmla="*/ 55712 h 97739"/>
                  <a:gd name="connsiteX7" fmla="*/ 198272 w 198394"/>
                  <a:gd name="connsiteY7" fmla="*/ 55712 h 97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8394" h="97739">
                    <a:moveTo>
                      <a:pt x="198394" y="97740"/>
                    </a:moveTo>
                    <a:lnTo>
                      <a:pt x="0" y="97740"/>
                    </a:lnTo>
                    <a:lnTo>
                      <a:pt x="0" y="55712"/>
                    </a:lnTo>
                    <a:cubicBezTo>
                      <a:pt x="165" y="24778"/>
                      <a:pt x="25387" y="-170"/>
                      <a:pt x="56335" y="1"/>
                    </a:cubicBezTo>
                    <a:cubicBezTo>
                      <a:pt x="56353" y="1"/>
                      <a:pt x="56378" y="1"/>
                      <a:pt x="56396" y="1"/>
                    </a:cubicBezTo>
                    <a:lnTo>
                      <a:pt x="141937" y="1"/>
                    </a:lnTo>
                    <a:cubicBezTo>
                      <a:pt x="172879" y="-170"/>
                      <a:pt x="198101" y="24772"/>
                      <a:pt x="198272" y="55712"/>
                    </a:cubicBezTo>
                    <a:cubicBezTo>
                      <a:pt x="198272" y="55712"/>
                      <a:pt x="198272" y="55712"/>
                      <a:pt x="198272" y="55712"/>
                    </a:cubicBezTo>
                    <a:close/>
                  </a:path>
                </a:pathLst>
              </a:custGeom>
              <a:solidFill>
                <a:schemeClr val="tx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08" name="Freihandform 507">
                <a:extLst>
                  <a:ext uri="{FF2B5EF4-FFF2-40B4-BE49-F238E27FC236}">
                    <a16:creationId xmlns:a16="http://schemas.microsoft.com/office/drawing/2014/main" id="{2962C6DB-22F3-D245-949D-04946B83E52A}"/>
                  </a:ext>
                </a:extLst>
              </p:cNvPr>
              <p:cNvSpPr/>
              <p:nvPr/>
            </p:nvSpPr>
            <p:spPr>
              <a:xfrm>
                <a:off x="-1573085" y="411239"/>
                <a:ext cx="253751" cy="22724"/>
              </a:xfrm>
              <a:custGeom>
                <a:avLst/>
                <a:gdLst>
                  <a:gd name="connsiteX0" fmla="*/ 242387 w 253751"/>
                  <a:gd name="connsiteY0" fmla="*/ 22724 h 22724"/>
                  <a:gd name="connsiteX1" fmla="*/ 11365 w 253751"/>
                  <a:gd name="connsiteY1" fmla="*/ 22724 h 22724"/>
                  <a:gd name="connsiteX2" fmla="*/ 0 w 253751"/>
                  <a:gd name="connsiteY2" fmla="*/ 11362 h 22724"/>
                  <a:gd name="connsiteX3" fmla="*/ 11365 w 253751"/>
                  <a:gd name="connsiteY3" fmla="*/ 0 h 22724"/>
                  <a:gd name="connsiteX4" fmla="*/ 242387 w 253751"/>
                  <a:gd name="connsiteY4" fmla="*/ 0 h 22724"/>
                  <a:gd name="connsiteX5" fmla="*/ 253752 w 253751"/>
                  <a:gd name="connsiteY5" fmla="*/ 11362 h 22724"/>
                  <a:gd name="connsiteX6" fmla="*/ 242387 w 253751"/>
                  <a:gd name="connsiteY6" fmla="*/ 22724 h 22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3751" h="22724">
                    <a:moveTo>
                      <a:pt x="242387" y="22724"/>
                    </a:moveTo>
                    <a:lnTo>
                      <a:pt x="11365" y="22724"/>
                    </a:lnTo>
                    <a:cubicBezTo>
                      <a:pt x="5090" y="22724"/>
                      <a:pt x="0" y="17636"/>
                      <a:pt x="0" y="11362"/>
                    </a:cubicBezTo>
                    <a:cubicBezTo>
                      <a:pt x="0" y="5089"/>
                      <a:pt x="5090" y="0"/>
                      <a:pt x="11365" y="0"/>
                    </a:cubicBezTo>
                    <a:lnTo>
                      <a:pt x="242387" y="0"/>
                    </a:lnTo>
                    <a:cubicBezTo>
                      <a:pt x="248662" y="0"/>
                      <a:pt x="253752" y="5089"/>
                      <a:pt x="253752" y="11362"/>
                    </a:cubicBezTo>
                    <a:cubicBezTo>
                      <a:pt x="253752" y="17636"/>
                      <a:pt x="248662" y="22724"/>
                      <a:pt x="242387" y="22724"/>
                    </a:cubicBezTo>
                  </a:path>
                </a:pathLst>
              </a:custGeom>
              <a:solidFill>
                <a:schemeClr val="tx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09" name="Freihandform 508">
                <a:extLst>
                  <a:ext uri="{FF2B5EF4-FFF2-40B4-BE49-F238E27FC236}">
                    <a16:creationId xmlns:a16="http://schemas.microsoft.com/office/drawing/2014/main" id="{89DFCFF9-CC0D-3F48-B4A6-B3CFFB6D3545}"/>
                  </a:ext>
                </a:extLst>
              </p:cNvPr>
              <p:cNvSpPr/>
              <p:nvPr/>
            </p:nvSpPr>
            <p:spPr>
              <a:xfrm>
                <a:off x="-1517300" y="398838"/>
                <a:ext cx="142670" cy="62003"/>
              </a:xfrm>
              <a:custGeom>
                <a:avLst/>
                <a:gdLst>
                  <a:gd name="connsiteX0" fmla="*/ 142548 w 142670"/>
                  <a:gd name="connsiteY0" fmla="*/ 62004 h 62003"/>
                  <a:gd name="connsiteX1" fmla="*/ 0 w 142670"/>
                  <a:gd name="connsiteY1" fmla="*/ 62004 h 62003"/>
                  <a:gd name="connsiteX2" fmla="*/ 0 w 142670"/>
                  <a:gd name="connsiteY2" fmla="*/ 32315 h 62003"/>
                  <a:gd name="connsiteX3" fmla="*/ 32689 w 142670"/>
                  <a:gd name="connsiteY3" fmla="*/ 1 h 62003"/>
                  <a:gd name="connsiteX4" fmla="*/ 32689 w 142670"/>
                  <a:gd name="connsiteY4" fmla="*/ 1 h 62003"/>
                  <a:gd name="connsiteX5" fmla="*/ 109982 w 142670"/>
                  <a:gd name="connsiteY5" fmla="*/ 1 h 62003"/>
                  <a:gd name="connsiteX6" fmla="*/ 142671 w 142670"/>
                  <a:gd name="connsiteY6" fmla="*/ 32315 h 62003"/>
                  <a:gd name="connsiteX7" fmla="*/ 142671 w 142670"/>
                  <a:gd name="connsiteY7" fmla="*/ 32315 h 62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2670" h="62003">
                    <a:moveTo>
                      <a:pt x="142548" y="62004"/>
                    </a:moveTo>
                    <a:lnTo>
                      <a:pt x="0" y="62004"/>
                    </a:lnTo>
                    <a:lnTo>
                      <a:pt x="0" y="32315"/>
                    </a:lnTo>
                    <a:cubicBezTo>
                      <a:pt x="104" y="14368"/>
                      <a:pt x="14737" y="-103"/>
                      <a:pt x="32689" y="1"/>
                    </a:cubicBezTo>
                    <a:cubicBezTo>
                      <a:pt x="32689" y="1"/>
                      <a:pt x="32689" y="1"/>
                      <a:pt x="32689" y="1"/>
                    </a:cubicBezTo>
                    <a:lnTo>
                      <a:pt x="109982" y="1"/>
                    </a:lnTo>
                    <a:cubicBezTo>
                      <a:pt x="127933" y="-103"/>
                      <a:pt x="142567" y="14368"/>
                      <a:pt x="142671" y="32315"/>
                    </a:cubicBezTo>
                    <a:cubicBezTo>
                      <a:pt x="142671" y="32315"/>
                      <a:pt x="142671" y="32315"/>
                      <a:pt x="142671" y="32315"/>
                    </a:cubicBezTo>
                    <a:close/>
                  </a:path>
                </a:pathLst>
              </a:custGeom>
              <a:solidFill>
                <a:srgbClr val="9D9D9C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505" name="Freihandform 504">
              <a:extLst>
                <a:ext uri="{FF2B5EF4-FFF2-40B4-BE49-F238E27FC236}">
                  <a16:creationId xmlns:a16="http://schemas.microsoft.com/office/drawing/2014/main" id="{FE4CEEEC-3964-4841-9443-7E3AA9465C0F}"/>
                </a:ext>
              </a:extLst>
            </p:cNvPr>
            <p:cNvSpPr/>
            <p:nvPr/>
          </p:nvSpPr>
          <p:spPr>
            <a:xfrm>
              <a:off x="12226129" y="1687423"/>
              <a:ext cx="320069" cy="11682"/>
            </a:xfrm>
            <a:custGeom>
              <a:avLst/>
              <a:gdLst>
                <a:gd name="connsiteX0" fmla="*/ 0 w 167355"/>
                <a:gd name="connsiteY0" fmla="*/ 0 h 6108"/>
                <a:gd name="connsiteX1" fmla="*/ 167355 w 167355"/>
                <a:gd name="connsiteY1" fmla="*/ 0 h 61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7355" h="6108">
                  <a:moveTo>
                    <a:pt x="0" y="0"/>
                  </a:moveTo>
                  <a:lnTo>
                    <a:pt x="167355" y="0"/>
                  </a:lnTo>
                </a:path>
              </a:pathLst>
            </a:custGeom>
            <a:ln w="31750" cap="flat">
              <a:solidFill>
                <a:srgbClr val="1D1D1B"/>
              </a:solidFill>
              <a:prstDash val="sysDash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640" name="Textfeld 639">
            <a:extLst>
              <a:ext uri="{FF2B5EF4-FFF2-40B4-BE49-F238E27FC236}">
                <a16:creationId xmlns:a16="http://schemas.microsoft.com/office/drawing/2014/main" id="{5D5D8D47-3AA5-774D-B975-2EDC5469EDC9}"/>
              </a:ext>
            </a:extLst>
          </p:cNvPr>
          <p:cNvSpPr txBox="1"/>
          <p:nvPr/>
        </p:nvSpPr>
        <p:spPr>
          <a:xfrm>
            <a:off x="965927" y="3682169"/>
            <a:ext cx="173059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700" dirty="0"/>
              <a:t>Plnopryžová kola</a:t>
            </a:r>
            <a:endParaRPr lang="de-DE" sz="700" dirty="0"/>
          </a:p>
        </p:txBody>
      </p:sp>
      <p:sp>
        <p:nvSpPr>
          <p:cNvPr id="691" name="Textfeld 690">
            <a:extLst>
              <a:ext uri="{FF2B5EF4-FFF2-40B4-BE49-F238E27FC236}">
                <a16:creationId xmlns:a16="http://schemas.microsoft.com/office/drawing/2014/main" id="{C20C6878-0FC4-5643-B767-AAFF5CBB73A3}"/>
              </a:ext>
            </a:extLst>
          </p:cNvPr>
          <p:cNvSpPr txBox="1"/>
          <p:nvPr/>
        </p:nvSpPr>
        <p:spPr>
          <a:xfrm>
            <a:off x="1027802" y="2625927"/>
            <a:ext cx="1517834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700" dirty="0"/>
              <a:t> </a:t>
            </a:r>
            <a:r>
              <a:rPr lang="cs-CZ" sz="700" dirty="0"/>
              <a:t>Konstrukce kola</a:t>
            </a:r>
            <a:endParaRPr lang="de-DE" sz="700" dirty="0"/>
          </a:p>
          <a:p>
            <a:pPr algn="ctr"/>
            <a:br>
              <a:rPr lang="de-DE" sz="700" dirty="0"/>
            </a:br>
            <a:r>
              <a:rPr lang="cs-CZ" sz="700" dirty="0"/>
              <a:t>Plnopryžové bandáže </a:t>
            </a:r>
          </a:p>
          <a:p>
            <a:pPr algn="ctr"/>
            <a:r>
              <a:rPr lang="cs-CZ" sz="700" dirty="0"/>
              <a:t>s ocelovou základnou</a:t>
            </a:r>
            <a:r>
              <a:rPr lang="de-DE" sz="700" dirty="0"/>
              <a:t> </a:t>
            </a:r>
          </a:p>
          <a:p>
            <a:pPr algn="ctr"/>
            <a:r>
              <a:rPr lang="de-DE" sz="700" dirty="0"/>
              <a:t>(STB) &amp; </a:t>
            </a:r>
            <a:r>
              <a:rPr lang="cs-CZ" sz="700" dirty="0"/>
              <a:t>se základnou s ocelovými lany</a:t>
            </a:r>
            <a:endParaRPr lang="de-DE" sz="700" dirty="0"/>
          </a:p>
          <a:p>
            <a:pPr algn="ctr"/>
            <a:endParaRPr lang="de-DE" sz="700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A4F04D3B-2967-DD4A-BBAA-FEB9658CEEC8}"/>
              </a:ext>
            </a:extLst>
          </p:cNvPr>
          <p:cNvGrpSpPr/>
          <p:nvPr/>
        </p:nvGrpSpPr>
        <p:grpSpPr>
          <a:xfrm>
            <a:off x="94043" y="3416609"/>
            <a:ext cx="793484" cy="762366"/>
            <a:chOff x="2232017" y="3934398"/>
            <a:chExt cx="793484" cy="762366"/>
          </a:xfrm>
        </p:grpSpPr>
        <p:grpSp>
          <p:nvGrpSpPr>
            <p:cNvPr id="478" name="Gruppieren 477">
              <a:extLst>
                <a:ext uri="{FF2B5EF4-FFF2-40B4-BE49-F238E27FC236}">
                  <a16:creationId xmlns:a16="http://schemas.microsoft.com/office/drawing/2014/main" id="{6CE0EAA1-B572-0243-B9CD-0E0D80FEBFE6}"/>
                </a:ext>
              </a:extLst>
            </p:cNvPr>
            <p:cNvGrpSpPr/>
            <p:nvPr/>
          </p:nvGrpSpPr>
          <p:grpSpPr>
            <a:xfrm>
              <a:off x="2339752" y="3934398"/>
              <a:ext cx="554512" cy="412328"/>
              <a:chOff x="8067478" y="3893767"/>
              <a:chExt cx="768142" cy="571181"/>
            </a:xfrm>
            <a:solidFill>
              <a:schemeClr val="accent1"/>
            </a:solidFill>
          </p:grpSpPr>
          <p:sp>
            <p:nvSpPr>
              <p:cNvPr id="479" name="Freihandform 478">
                <a:extLst>
                  <a:ext uri="{FF2B5EF4-FFF2-40B4-BE49-F238E27FC236}">
                    <a16:creationId xmlns:a16="http://schemas.microsoft.com/office/drawing/2014/main" id="{A9CFBF75-467B-E842-83C5-AD4E56BAAC05}"/>
                  </a:ext>
                </a:extLst>
              </p:cNvPr>
              <p:cNvSpPr/>
              <p:nvPr/>
            </p:nvSpPr>
            <p:spPr>
              <a:xfrm>
                <a:off x="8728739" y="3893767"/>
                <a:ext cx="106881" cy="571021"/>
              </a:xfrm>
              <a:custGeom>
                <a:avLst/>
                <a:gdLst>
                  <a:gd name="connsiteX0" fmla="*/ 0 w 40876"/>
                  <a:gd name="connsiteY0" fmla="*/ 0 h 218384"/>
                  <a:gd name="connsiteX1" fmla="*/ 40877 w 40876"/>
                  <a:gd name="connsiteY1" fmla="*/ 0 h 218384"/>
                  <a:gd name="connsiteX2" fmla="*/ 40877 w 40876"/>
                  <a:gd name="connsiteY2" fmla="*/ 218385 h 218384"/>
                  <a:gd name="connsiteX3" fmla="*/ 0 w 40876"/>
                  <a:gd name="connsiteY3" fmla="*/ 218385 h 218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876" h="218384">
                    <a:moveTo>
                      <a:pt x="0" y="0"/>
                    </a:moveTo>
                    <a:lnTo>
                      <a:pt x="40877" y="0"/>
                    </a:lnTo>
                    <a:lnTo>
                      <a:pt x="40877" y="218385"/>
                    </a:lnTo>
                    <a:lnTo>
                      <a:pt x="0" y="218385"/>
                    </a:lnTo>
                    <a:close/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0" name="Freihandform 479">
                <a:extLst>
                  <a:ext uri="{FF2B5EF4-FFF2-40B4-BE49-F238E27FC236}">
                    <a16:creationId xmlns:a16="http://schemas.microsoft.com/office/drawing/2014/main" id="{B19AA6C6-642B-CD4C-AB08-27349363300D}"/>
                  </a:ext>
                </a:extLst>
              </p:cNvPr>
              <p:cNvSpPr/>
              <p:nvPr/>
            </p:nvSpPr>
            <p:spPr>
              <a:xfrm>
                <a:off x="8563384" y="3945518"/>
                <a:ext cx="106881" cy="519269"/>
              </a:xfrm>
              <a:custGeom>
                <a:avLst/>
                <a:gdLst>
                  <a:gd name="connsiteX0" fmla="*/ 0 w 40876"/>
                  <a:gd name="connsiteY0" fmla="*/ 0 h 198592"/>
                  <a:gd name="connsiteX1" fmla="*/ 40876 w 40876"/>
                  <a:gd name="connsiteY1" fmla="*/ 0 h 198592"/>
                  <a:gd name="connsiteX2" fmla="*/ 40876 w 40876"/>
                  <a:gd name="connsiteY2" fmla="*/ 198593 h 198592"/>
                  <a:gd name="connsiteX3" fmla="*/ 0 w 40876"/>
                  <a:gd name="connsiteY3" fmla="*/ 198593 h 198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876" h="198592">
                    <a:moveTo>
                      <a:pt x="0" y="0"/>
                    </a:moveTo>
                    <a:lnTo>
                      <a:pt x="40876" y="0"/>
                    </a:lnTo>
                    <a:lnTo>
                      <a:pt x="40876" y="198593"/>
                    </a:lnTo>
                    <a:lnTo>
                      <a:pt x="0" y="198593"/>
                    </a:lnTo>
                    <a:close/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1" name="Freihandform 480">
                <a:extLst>
                  <a:ext uri="{FF2B5EF4-FFF2-40B4-BE49-F238E27FC236}">
                    <a16:creationId xmlns:a16="http://schemas.microsoft.com/office/drawing/2014/main" id="{C500CFAA-3104-9048-875B-1041ECA206E7}"/>
                  </a:ext>
                </a:extLst>
              </p:cNvPr>
              <p:cNvSpPr/>
              <p:nvPr/>
            </p:nvSpPr>
            <p:spPr>
              <a:xfrm>
                <a:off x="8398027" y="4045828"/>
                <a:ext cx="106881" cy="419120"/>
              </a:xfrm>
              <a:custGeom>
                <a:avLst/>
                <a:gdLst>
                  <a:gd name="connsiteX0" fmla="*/ 0 w 40876"/>
                  <a:gd name="connsiteY0" fmla="*/ 0 h 160291"/>
                  <a:gd name="connsiteX1" fmla="*/ 40877 w 40876"/>
                  <a:gd name="connsiteY1" fmla="*/ 0 h 160291"/>
                  <a:gd name="connsiteX2" fmla="*/ 40877 w 40876"/>
                  <a:gd name="connsiteY2" fmla="*/ 160291 h 160291"/>
                  <a:gd name="connsiteX3" fmla="*/ 0 w 40876"/>
                  <a:gd name="connsiteY3" fmla="*/ 160291 h 160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876" h="160291">
                    <a:moveTo>
                      <a:pt x="0" y="0"/>
                    </a:moveTo>
                    <a:lnTo>
                      <a:pt x="40877" y="0"/>
                    </a:lnTo>
                    <a:lnTo>
                      <a:pt x="40877" y="160291"/>
                    </a:lnTo>
                    <a:lnTo>
                      <a:pt x="0" y="160291"/>
                    </a:lnTo>
                    <a:close/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2" name="Freihandform 481">
                <a:extLst>
                  <a:ext uri="{FF2B5EF4-FFF2-40B4-BE49-F238E27FC236}">
                    <a16:creationId xmlns:a16="http://schemas.microsoft.com/office/drawing/2014/main" id="{557C0BE8-6EFD-7848-9B96-52061D192F19}"/>
                  </a:ext>
                </a:extLst>
              </p:cNvPr>
              <p:cNvSpPr/>
              <p:nvPr/>
            </p:nvSpPr>
            <p:spPr>
              <a:xfrm>
                <a:off x="8232832" y="4142621"/>
                <a:ext cx="106881" cy="322165"/>
              </a:xfrm>
              <a:custGeom>
                <a:avLst/>
                <a:gdLst>
                  <a:gd name="connsiteX0" fmla="*/ 0 w 40876"/>
                  <a:gd name="connsiteY0" fmla="*/ 0 h 123211"/>
                  <a:gd name="connsiteX1" fmla="*/ 40876 w 40876"/>
                  <a:gd name="connsiteY1" fmla="*/ 0 h 123211"/>
                  <a:gd name="connsiteX2" fmla="*/ 40876 w 40876"/>
                  <a:gd name="connsiteY2" fmla="*/ 123212 h 123211"/>
                  <a:gd name="connsiteX3" fmla="*/ 0 w 40876"/>
                  <a:gd name="connsiteY3" fmla="*/ 123212 h 123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876" h="123211">
                    <a:moveTo>
                      <a:pt x="0" y="0"/>
                    </a:moveTo>
                    <a:lnTo>
                      <a:pt x="40876" y="0"/>
                    </a:lnTo>
                    <a:lnTo>
                      <a:pt x="40876" y="123212"/>
                    </a:lnTo>
                    <a:lnTo>
                      <a:pt x="0" y="123212"/>
                    </a:lnTo>
                    <a:close/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3" name="Freihandform 482">
                <a:extLst>
                  <a:ext uri="{FF2B5EF4-FFF2-40B4-BE49-F238E27FC236}">
                    <a16:creationId xmlns:a16="http://schemas.microsoft.com/office/drawing/2014/main" id="{FA80D277-43AD-1D48-A316-9B2C604AFAE2}"/>
                  </a:ext>
                </a:extLst>
              </p:cNvPr>
              <p:cNvSpPr/>
              <p:nvPr/>
            </p:nvSpPr>
            <p:spPr>
              <a:xfrm>
                <a:off x="8067478" y="4247721"/>
                <a:ext cx="106881" cy="217066"/>
              </a:xfrm>
              <a:custGeom>
                <a:avLst/>
                <a:gdLst>
                  <a:gd name="connsiteX0" fmla="*/ 0 w 40876"/>
                  <a:gd name="connsiteY0" fmla="*/ 0 h 83016"/>
                  <a:gd name="connsiteX1" fmla="*/ 40877 w 40876"/>
                  <a:gd name="connsiteY1" fmla="*/ 0 h 83016"/>
                  <a:gd name="connsiteX2" fmla="*/ 40877 w 40876"/>
                  <a:gd name="connsiteY2" fmla="*/ 83017 h 83016"/>
                  <a:gd name="connsiteX3" fmla="*/ 0 w 40876"/>
                  <a:gd name="connsiteY3" fmla="*/ 83017 h 83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876" h="83016">
                    <a:moveTo>
                      <a:pt x="0" y="0"/>
                    </a:moveTo>
                    <a:lnTo>
                      <a:pt x="40877" y="0"/>
                    </a:lnTo>
                    <a:lnTo>
                      <a:pt x="40877" y="83017"/>
                    </a:lnTo>
                    <a:lnTo>
                      <a:pt x="0" y="83017"/>
                    </a:lnTo>
                    <a:close/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698" name="Textfeld 697">
              <a:extLst>
                <a:ext uri="{FF2B5EF4-FFF2-40B4-BE49-F238E27FC236}">
                  <a16:creationId xmlns:a16="http://schemas.microsoft.com/office/drawing/2014/main" id="{BB1C326B-26E1-104A-B24E-166DA9800697}"/>
                </a:ext>
              </a:extLst>
            </p:cNvPr>
            <p:cNvSpPr txBox="1"/>
            <p:nvPr/>
          </p:nvSpPr>
          <p:spPr>
            <a:xfrm>
              <a:off x="2232017" y="4358210"/>
              <a:ext cx="79348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800" dirty="0">
                  <a:solidFill>
                    <a:schemeClr val="accent1"/>
                  </a:solidFill>
                </a:rPr>
                <a:t>VYSOKÁ INTENZITA</a:t>
              </a:r>
              <a:endParaRPr lang="de-DE" sz="8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701" name="Freihandform 700">
            <a:extLst>
              <a:ext uri="{FF2B5EF4-FFF2-40B4-BE49-F238E27FC236}">
                <a16:creationId xmlns:a16="http://schemas.microsoft.com/office/drawing/2014/main" id="{64ECD4B6-7C33-2744-8EBB-22FC92B64016}"/>
              </a:ext>
            </a:extLst>
          </p:cNvPr>
          <p:cNvSpPr/>
          <p:nvPr/>
        </p:nvSpPr>
        <p:spPr>
          <a:xfrm>
            <a:off x="3212865" y="188684"/>
            <a:ext cx="2151223" cy="276688"/>
          </a:xfrm>
          <a:custGeom>
            <a:avLst/>
            <a:gdLst>
              <a:gd name="connsiteX0" fmla="*/ 1350246 w 1367354"/>
              <a:gd name="connsiteY0" fmla="*/ 63164 h 175868"/>
              <a:gd name="connsiteX1" fmla="*/ 1353974 w 1367354"/>
              <a:gd name="connsiteY1" fmla="*/ 63164 h 175868"/>
              <a:gd name="connsiteX2" fmla="*/ 1353974 w 1367354"/>
              <a:gd name="connsiteY2" fmla="*/ 57055 h 175868"/>
              <a:gd name="connsiteX3" fmla="*/ 1353974 w 1367354"/>
              <a:gd name="connsiteY3" fmla="*/ 54001 h 175868"/>
              <a:gd name="connsiteX4" fmla="*/ 1354829 w 1367354"/>
              <a:gd name="connsiteY4" fmla="*/ 57055 h 175868"/>
              <a:gd name="connsiteX5" fmla="*/ 1356906 w 1367354"/>
              <a:gd name="connsiteY5" fmla="*/ 63164 h 175868"/>
              <a:gd name="connsiteX6" fmla="*/ 1360267 w 1367354"/>
              <a:gd name="connsiteY6" fmla="*/ 63164 h 175868"/>
              <a:gd name="connsiteX7" fmla="*/ 1362344 w 1367354"/>
              <a:gd name="connsiteY7" fmla="*/ 57055 h 175868"/>
              <a:gd name="connsiteX8" fmla="*/ 1363261 w 1367354"/>
              <a:gd name="connsiteY8" fmla="*/ 54001 h 175868"/>
              <a:gd name="connsiteX9" fmla="*/ 1363261 w 1367354"/>
              <a:gd name="connsiteY9" fmla="*/ 57055 h 175868"/>
              <a:gd name="connsiteX10" fmla="*/ 1363261 w 1367354"/>
              <a:gd name="connsiteY10" fmla="*/ 63164 h 175868"/>
              <a:gd name="connsiteX11" fmla="*/ 1367355 w 1367354"/>
              <a:gd name="connsiteY11" fmla="*/ 63164 h 175868"/>
              <a:gd name="connsiteX12" fmla="*/ 1367355 w 1367354"/>
              <a:gd name="connsiteY12" fmla="*/ 49297 h 175868"/>
              <a:gd name="connsiteX13" fmla="*/ 1361917 w 1367354"/>
              <a:gd name="connsiteY13" fmla="*/ 49297 h 175868"/>
              <a:gd name="connsiteX14" fmla="*/ 1359473 w 1367354"/>
              <a:gd name="connsiteY14" fmla="*/ 56872 h 175868"/>
              <a:gd name="connsiteX15" fmla="*/ 1358801 w 1367354"/>
              <a:gd name="connsiteY15" fmla="*/ 59254 h 175868"/>
              <a:gd name="connsiteX16" fmla="*/ 1358189 w 1367354"/>
              <a:gd name="connsiteY16" fmla="*/ 56872 h 175868"/>
              <a:gd name="connsiteX17" fmla="*/ 1355745 w 1367354"/>
              <a:gd name="connsiteY17" fmla="*/ 49297 h 175868"/>
              <a:gd name="connsiteX18" fmla="*/ 1350308 w 1367354"/>
              <a:gd name="connsiteY18" fmla="*/ 49297 h 175868"/>
              <a:gd name="connsiteX19" fmla="*/ 1350308 w 1367354"/>
              <a:gd name="connsiteY19" fmla="*/ 63164 h 175868"/>
              <a:gd name="connsiteX20" fmla="*/ 1340287 w 1367354"/>
              <a:gd name="connsiteY20" fmla="*/ 63164 h 175868"/>
              <a:gd name="connsiteX21" fmla="*/ 1344564 w 1367354"/>
              <a:gd name="connsiteY21" fmla="*/ 63164 h 175868"/>
              <a:gd name="connsiteX22" fmla="*/ 1344564 w 1367354"/>
              <a:gd name="connsiteY22" fmla="*/ 52290 h 175868"/>
              <a:gd name="connsiteX23" fmla="*/ 1348780 w 1367354"/>
              <a:gd name="connsiteY23" fmla="*/ 52290 h 175868"/>
              <a:gd name="connsiteX24" fmla="*/ 1348780 w 1367354"/>
              <a:gd name="connsiteY24" fmla="*/ 49297 h 175868"/>
              <a:gd name="connsiteX25" fmla="*/ 1336071 w 1367354"/>
              <a:gd name="connsiteY25" fmla="*/ 49297 h 175868"/>
              <a:gd name="connsiteX26" fmla="*/ 1336071 w 1367354"/>
              <a:gd name="connsiteY26" fmla="*/ 52290 h 175868"/>
              <a:gd name="connsiteX27" fmla="*/ 1340287 w 1367354"/>
              <a:gd name="connsiteY27" fmla="*/ 52290 h 175868"/>
              <a:gd name="connsiteX28" fmla="*/ 1294583 w 1367354"/>
              <a:gd name="connsiteY28" fmla="*/ 75381 h 175868"/>
              <a:gd name="connsiteX29" fmla="*/ 1263239 w 1367354"/>
              <a:gd name="connsiteY29" fmla="*/ 75381 h 175868"/>
              <a:gd name="connsiteX30" fmla="*/ 1263239 w 1367354"/>
              <a:gd name="connsiteY30" fmla="*/ 105924 h 175868"/>
              <a:gd name="connsiteX31" fmla="*/ 1231955 w 1367354"/>
              <a:gd name="connsiteY31" fmla="*/ 75381 h 175868"/>
              <a:gd name="connsiteX32" fmla="*/ 1205071 w 1367354"/>
              <a:gd name="connsiteY32" fmla="*/ 49114 h 175868"/>
              <a:gd name="connsiteX33" fmla="*/ 1294583 w 1367354"/>
              <a:gd name="connsiteY33" fmla="*/ 49114 h 175868"/>
              <a:gd name="connsiteX34" fmla="*/ 1263239 w 1367354"/>
              <a:gd name="connsiteY34" fmla="*/ 129870 h 175868"/>
              <a:gd name="connsiteX35" fmla="*/ 1231955 w 1367354"/>
              <a:gd name="connsiteY35" fmla="*/ 99327 h 175868"/>
              <a:gd name="connsiteX36" fmla="*/ 1231955 w 1367354"/>
              <a:gd name="connsiteY36" fmla="*/ 84055 h 175868"/>
              <a:gd name="connsiteX37" fmla="*/ 1263239 w 1367354"/>
              <a:gd name="connsiteY37" fmla="*/ 114599 h 175868"/>
              <a:gd name="connsiteX38" fmla="*/ 1231955 w 1367354"/>
              <a:gd name="connsiteY38" fmla="*/ 138606 h 175868"/>
              <a:gd name="connsiteX39" fmla="*/ 1231955 w 1367354"/>
              <a:gd name="connsiteY39" fmla="*/ 108062 h 175868"/>
              <a:gd name="connsiteX40" fmla="*/ 1263239 w 1367354"/>
              <a:gd name="connsiteY40" fmla="*/ 138606 h 175868"/>
              <a:gd name="connsiteX41" fmla="*/ 1225173 w 1367354"/>
              <a:gd name="connsiteY41" fmla="*/ 84116 h 175868"/>
              <a:gd name="connsiteX42" fmla="*/ 1225173 w 1367354"/>
              <a:gd name="connsiteY42" fmla="*/ 138606 h 175868"/>
              <a:gd name="connsiteX43" fmla="*/ 1171404 w 1367354"/>
              <a:gd name="connsiteY43" fmla="*/ 138606 h 175868"/>
              <a:gd name="connsiteX44" fmla="*/ 1122157 w 1367354"/>
              <a:gd name="connsiteY44" fmla="*/ 93951 h 175868"/>
              <a:gd name="connsiteX45" fmla="*/ 1171404 w 1367354"/>
              <a:gd name="connsiteY45" fmla="*/ 49236 h 175868"/>
              <a:gd name="connsiteX46" fmla="*/ 1197311 w 1367354"/>
              <a:gd name="connsiteY46" fmla="*/ 74465 h 175868"/>
              <a:gd name="connsiteX47" fmla="*/ 1171404 w 1367354"/>
              <a:gd name="connsiteY47" fmla="*/ 74465 h 175868"/>
              <a:gd name="connsiteX48" fmla="*/ 1151913 w 1367354"/>
              <a:gd name="connsiteY48" fmla="*/ 93951 h 175868"/>
              <a:gd name="connsiteX49" fmla="*/ 1171404 w 1367354"/>
              <a:gd name="connsiteY49" fmla="*/ 113438 h 175868"/>
              <a:gd name="connsiteX50" fmla="*/ 1195845 w 1367354"/>
              <a:gd name="connsiteY50" fmla="*/ 113438 h 175868"/>
              <a:gd name="connsiteX51" fmla="*/ 1195845 w 1367354"/>
              <a:gd name="connsiteY51" fmla="*/ 106046 h 175868"/>
              <a:gd name="connsiteX52" fmla="*/ 1172932 w 1367354"/>
              <a:gd name="connsiteY52" fmla="*/ 106046 h 175868"/>
              <a:gd name="connsiteX53" fmla="*/ 1158787 w 1367354"/>
              <a:gd name="connsiteY53" fmla="*/ 96120 h 175868"/>
              <a:gd name="connsiteX54" fmla="*/ 1168716 w 1367354"/>
              <a:gd name="connsiteY54" fmla="*/ 81978 h 175868"/>
              <a:gd name="connsiteX55" fmla="*/ 1172932 w 1367354"/>
              <a:gd name="connsiteY55" fmla="*/ 81978 h 175868"/>
              <a:gd name="connsiteX56" fmla="*/ 1224929 w 1367354"/>
              <a:gd name="connsiteY56" fmla="*/ 81978 h 175868"/>
              <a:gd name="connsiteX57" fmla="*/ 1196089 w 1367354"/>
              <a:gd name="connsiteY57" fmla="*/ 49114 h 175868"/>
              <a:gd name="connsiteX58" fmla="*/ 1221996 w 1367354"/>
              <a:gd name="connsiteY58" fmla="*/ 74342 h 175868"/>
              <a:gd name="connsiteX59" fmla="*/ 1206293 w 1367354"/>
              <a:gd name="connsiteY59" fmla="*/ 74342 h 175868"/>
              <a:gd name="connsiteX60" fmla="*/ 1180386 w 1367354"/>
              <a:gd name="connsiteY60" fmla="*/ 49114 h 175868"/>
              <a:gd name="connsiteX61" fmla="*/ 1206843 w 1367354"/>
              <a:gd name="connsiteY61" fmla="*/ 33781 h 175868"/>
              <a:gd name="connsiteX62" fmla="*/ 1094234 w 1367354"/>
              <a:gd name="connsiteY62" fmla="*/ 0 h 175868"/>
              <a:gd name="connsiteX63" fmla="*/ 1094234 w 1367354"/>
              <a:gd name="connsiteY63" fmla="*/ 141904 h 175868"/>
              <a:gd name="connsiteX64" fmla="*/ 1207087 w 1367354"/>
              <a:gd name="connsiteY64" fmla="*/ 175869 h 175868"/>
              <a:gd name="connsiteX65" fmla="*/ 1319940 w 1367354"/>
              <a:gd name="connsiteY65" fmla="*/ 141904 h 175868"/>
              <a:gd name="connsiteX66" fmla="*/ 1319940 w 1367354"/>
              <a:gd name="connsiteY66" fmla="*/ 0 h 175868"/>
              <a:gd name="connsiteX67" fmla="*/ 1061423 w 1367354"/>
              <a:gd name="connsiteY67" fmla="*/ 76725 h 175868"/>
              <a:gd name="connsiteX68" fmla="*/ 1070527 w 1367354"/>
              <a:gd name="connsiteY68" fmla="*/ 51863 h 175868"/>
              <a:gd name="connsiteX69" fmla="*/ 984252 w 1367354"/>
              <a:gd name="connsiteY69" fmla="*/ 51863 h 175868"/>
              <a:gd name="connsiteX70" fmla="*/ 974904 w 1367354"/>
              <a:gd name="connsiteY70" fmla="*/ 76725 h 175868"/>
              <a:gd name="connsiteX71" fmla="*/ 981686 w 1367354"/>
              <a:gd name="connsiteY71" fmla="*/ 76725 h 175868"/>
              <a:gd name="connsiteX72" fmla="*/ 958773 w 1367354"/>
              <a:gd name="connsiteY72" fmla="*/ 139400 h 175868"/>
              <a:gd name="connsiteX73" fmla="*/ 1040221 w 1367354"/>
              <a:gd name="connsiteY73" fmla="*/ 139400 h 175868"/>
              <a:gd name="connsiteX74" fmla="*/ 1049264 w 1367354"/>
              <a:gd name="connsiteY74" fmla="*/ 114660 h 175868"/>
              <a:gd name="connsiteX75" fmla="*/ 1005026 w 1367354"/>
              <a:gd name="connsiteY75" fmla="*/ 114660 h 175868"/>
              <a:gd name="connsiteX76" fmla="*/ 1008204 w 1367354"/>
              <a:gd name="connsiteY76" fmla="*/ 105802 h 175868"/>
              <a:gd name="connsiteX77" fmla="*/ 1043826 w 1367354"/>
              <a:gd name="connsiteY77" fmla="*/ 105802 h 175868"/>
              <a:gd name="connsiteX78" fmla="*/ 1051463 w 1367354"/>
              <a:gd name="connsiteY78" fmla="*/ 84972 h 175868"/>
              <a:gd name="connsiteX79" fmla="*/ 1015841 w 1367354"/>
              <a:gd name="connsiteY79" fmla="*/ 84972 h 175868"/>
              <a:gd name="connsiteX80" fmla="*/ 1018957 w 1367354"/>
              <a:gd name="connsiteY80" fmla="*/ 76603 h 175868"/>
              <a:gd name="connsiteX81" fmla="*/ 1061423 w 1367354"/>
              <a:gd name="connsiteY81" fmla="*/ 76603 h 175868"/>
              <a:gd name="connsiteX82" fmla="*/ 940626 w 1367354"/>
              <a:gd name="connsiteY82" fmla="*/ 51863 h 175868"/>
              <a:gd name="connsiteX83" fmla="*/ 877753 w 1367354"/>
              <a:gd name="connsiteY83" fmla="*/ 51863 h 175868"/>
              <a:gd name="connsiteX84" fmla="*/ 868710 w 1367354"/>
              <a:gd name="connsiteY84" fmla="*/ 76725 h 175868"/>
              <a:gd name="connsiteX85" fmla="*/ 875798 w 1367354"/>
              <a:gd name="connsiteY85" fmla="*/ 76725 h 175868"/>
              <a:gd name="connsiteX86" fmla="*/ 853008 w 1367354"/>
              <a:gd name="connsiteY86" fmla="*/ 139400 h 175868"/>
              <a:gd name="connsiteX87" fmla="*/ 890279 w 1367354"/>
              <a:gd name="connsiteY87" fmla="*/ 139400 h 175868"/>
              <a:gd name="connsiteX88" fmla="*/ 900911 w 1367354"/>
              <a:gd name="connsiteY88" fmla="*/ 110139 h 175868"/>
              <a:gd name="connsiteX89" fmla="*/ 906654 w 1367354"/>
              <a:gd name="connsiteY89" fmla="*/ 110139 h 175868"/>
              <a:gd name="connsiteX90" fmla="*/ 913253 w 1367354"/>
              <a:gd name="connsiteY90" fmla="*/ 115881 h 175868"/>
              <a:gd name="connsiteX91" fmla="*/ 914047 w 1367354"/>
              <a:gd name="connsiteY91" fmla="*/ 139400 h 175868"/>
              <a:gd name="connsiteX92" fmla="*/ 951808 w 1367354"/>
              <a:gd name="connsiteY92" fmla="*/ 139400 h 175868"/>
              <a:gd name="connsiteX93" fmla="*/ 950708 w 1367354"/>
              <a:gd name="connsiteY93" fmla="*/ 117287 h 175868"/>
              <a:gd name="connsiteX94" fmla="*/ 944170 w 1367354"/>
              <a:gd name="connsiteY94" fmla="*/ 106108 h 175868"/>
              <a:gd name="connsiteX95" fmla="*/ 970138 w 1367354"/>
              <a:gd name="connsiteY95" fmla="*/ 81673 h 175868"/>
              <a:gd name="connsiteX96" fmla="*/ 940626 w 1367354"/>
              <a:gd name="connsiteY96" fmla="*/ 51740 h 175868"/>
              <a:gd name="connsiteX97" fmla="*/ 907754 w 1367354"/>
              <a:gd name="connsiteY97" fmla="*/ 91325 h 175868"/>
              <a:gd name="connsiteX98" fmla="*/ 914475 w 1367354"/>
              <a:gd name="connsiteY98" fmla="*/ 72999 h 175868"/>
              <a:gd name="connsiteX99" fmla="*/ 927245 w 1367354"/>
              <a:gd name="connsiteY99" fmla="*/ 72999 h 175868"/>
              <a:gd name="connsiteX100" fmla="*/ 934516 w 1367354"/>
              <a:gd name="connsiteY100" fmla="*/ 82284 h 175868"/>
              <a:gd name="connsiteX101" fmla="*/ 918508 w 1367354"/>
              <a:gd name="connsiteY101" fmla="*/ 91569 h 175868"/>
              <a:gd name="connsiteX102" fmla="*/ 800339 w 1367354"/>
              <a:gd name="connsiteY102" fmla="*/ 139522 h 175868"/>
              <a:gd name="connsiteX103" fmla="*/ 837610 w 1367354"/>
              <a:gd name="connsiteY103" fmla="*/ 139522 h 175868"/>
              <a:gd name="connsiteX104" fmla="*/ 869566 w 1367354"/>
              <a:gd name="connsiteY104" fmla="*/ 51740 h 175868"/>
              <a:gd name="connsiteX105" fmla="*/ 832294 w 1367354"/>
              <a:gd name="connsiteY105" fmla="*/ 51740 h 175868"/>
              <a:gd name="connsiteX106" fmla="*/ 729156 w 1367354"/>
              <a:gd name="connsiteY106" fmla="*/ 139522 h 175868"/>
              <a:gd name="connsiteX107" fmla="*/ 766428 w 1367354"/>
              <a:gd name="connsiteY107" fmla="*/ 139522 h 175868"/>
              <a:gd name="connsiteX108" fmla="*/ 789341 w 1367354"/>
              <a:gd name="connsiteY108" fmla="*/ 76725 h 175868"/>
              <a:gd name="connsiteX109" fmla="*/ 814392 w 1367354"/>
              <a:gd name="connsiteY109" fmla="*/ 76725 h 175868"/>
              <a:gd name="connsiteX110" fmla="*/ 823435 w 1367354"/>
              <a:gd name="connsiteY110" fmla="*/ 51863 h 175868"/>
              <a:gd name="connsiteX111" fmla="*/ 736244 w 1367354"/>
              <a:gd name="connsiteY111" fmla="*/ 51863 h 175868"/>
              <a:gd name="connsiteX112" fmla="*/ 727201 w 1367354"/>
              <a:gd name="connsiteY112" fmla="*/ 76725 h 175868"/>
              <a:gd name="connsiteX113" fmla="*/ 752069 w 1367354"/>
              <a:gd name="connsiteY113" fmla="*/ 76725 h 175868"/>
              <a:gd name="connsiteX114" fmla="*/ 608971 w 1367354"/>
              <a:gd name="connsiteY114" fmla="*/ 140683 h 175868"/>
              <a:gd name="connsiteX115" fmla="*/ 608971 w 1367354"/>
              <a:gd name="connsiteY115" fmla="*/ 52596 h 175868"/>
              <a:gd name="connsiteX116" fmla="*/ 552391 w 1367354"/>
              <a:gd name="connsiteY116" fmla="*/ 52596 h 175868"/>
              <a:gd name="connsiteX117" fmla="*/ 543898 w 1367354"/>
              <a:gd name="connsiteY117" fmla="*/ 76175 h 175868"/>
              <a:gd name="connsiteX118" fmla="*/ 496667 w 1367354"/>
              <a:gd name="connsiteY118" fmla="*/ 140683 h 175868"/>
              <a:gd name="connsiteX119" fmla="*/ 533328 w 1367354"/>
              <a:gd name="connsiteY119" fmla="*/ 140683 h 175868"/>
              <a:gd name="connsiteX120" fmla="*/ 541577 w 1367354"/>
              <a:gd name="connsiteY120" fmla="*/ 128038 h 175868"/>
              <a:gd name="connsiteX121" fmla="*/ 570050 w 1367354"/>
              <a:gd name="connsiteY121" fmla="*/ 128038 h 175868"/>
              <a:gd name="connsiteX122" fmla="*/ 569255 w 1367354"/>
              <a:gd name="connsiteY122" fmla="*/ 140683 h 175868"/>
              <a:gd name="connsiteX123" fmla="*/ 482553 w 1367354"/>
              <a:gd name="connsiteY123" fmla="*/ 52290 h 175868"/>
              <a:gd name="connsiteX124" fmla="*/ 419436 w 1367354"/>
              <a:gd name="connsiteY124" fmla="*/ 52290 h 175868"/>
              <a:gd name="connsiteX125" fmla="*/ 410393 w 1367354"/>
              <a:gd name="connsiteY125" fmla="*/ 77275 h 175868"/>
              <a:gd name="connsiteX126" fmla="*/ 416503 w 1367354"/>
              <a:gd name="connsiteY126" fmla="*/ 77275 h 175868"/>
              <a:gd name="connsiteX127" fmla="*/ 393529 w 1367354"/>
              <a:gd name="connsiteY127" fmla="*/ 140377 h 175868"/>
              <a:gd name="connsiteX128" fmla="*/ 431656 w 1367354"/>
              <a:gd name="connsiteY128" fmla="*/ 140377 h 175868"/>
              <a:gd name="connsiteX129" fmla="*/ 442410 w 1367354"/>
              <a:gd name="connsiteY129" fmla="*/ 111056 h 175868"/>
              <a:gd name="connsiteX130" fmla="*/ 448520 w 1367354"/>
              <a:gd name="connsiteY130" fmla="*/ 111056 h 175868"/>
              <a:gd name="connsiteX131" fmla="*/ 455302 w 1367354"/>
              <a:gd name="connsiteY131" fmla="*/ 116798 h 175868"/>
              <a:gd name="connsiteX132" fmla="*/ 456280 w 1367354"/>
              <a:gd name="connsiteY132" fmla="*/ 140438 h 175868"/>
              <a:gd name="connsiteX133" fmla="*/ 494895 w 1367354"/>
              <a:gd name="connsiteY133" fmla="*/ 140438 h 175868"/>
              <a:gd name="connsiteX134" fmla="*/ 493673 w 1367354"/>
              <a:gd name="connsiteY134" fmla="*/ 118203 h 175868"/>
              <a:gd name="connsiteX135" fmla="*/ 486891 w 1367354"/>
              <a:gd name="connsiteY135" fmla="*/ 107024 h 175868"/>
              <a:gd name="connsiteX136" fmla="*/ 513470 w 1367354"/>
              <a:gd name="connsiteY136" fmla="*/ 82589 h 175868"/>
              <a:gd name="connsiteX137" fmla="*/ 482920 w 1367354"/>
              <a:gd name="connsiteY137" fmla="*/ 52473 h 175868"/>
              <a:gd name="connsiteX138" fmla="*/ 404833 w 1367354"/>
              <a:gd name="connsiteY138" fmla="*/ 77336 h 175868"/>
              <a:gd name="connsiteX139" fmla="*/ 413937 w 1367354"/>
              <a:gd name="connsiteY139" fmla="*/ 52290 h 175868"/>
              <a:gd name="connsiteX140" fmla="*/ 326501 w 1367354"/>
              <a:gd name="connsiteY140" fmla="*/ 52290 h 175868"/>
              <a:gd name="connsiteX141" fmla="*/ 317459 w 1367354"/>
              <a:gd name="connsiteY141" fmla="*/ 77275 h 175868"/>
              <a:gd name="connsiteX142" fmla="*/ 323202 w 1367354"/>
              <a:gd name="connsiteY142" fmla="*/ 77275 h 175868"/>
              <a:gd name="connsiteX143" fmla="*/ 299923 w 1367354"/>
              <a:gd name="connsiteY143" fmla="*/ 140499 h 175868"/>
              <a:gd name="connsiteX144" fmla="*/ 383631 w 1367354"/>
              <a:gd name="connsiteY144" fmla="*/ 140499 h 175868"/>
              <a:gd name="connsiteX145" fmla="*/ 392674 w 1367354"/>
              <a:gd name="connsiteY145" fmla="*/ 115576 h 175868"/>
              <a:gd name="connsiteX146" fmla="*/ 347459 w 1367354"/>
              <a:gd name="connsiteY146" fmla="*/ 115576 h 175868"/>
              <a:gd name="connsiteX147" fmla="*/ 350636 w 1367354"/>
              <a:gd name="connsiteY147" fmla="*/ 106718 h 175868"/>
              <a:gd name="connsiteX148" fmla="*/ 387297 w 1367354"/>
              <a:gd name="connsiteY148" fmla="*/ 106718 h 175868"/>
              <a:gd name="connsiteX149" fmla="*/ 394934 w 1367354"/>
              <a:gd name="connsiteY149" fmla="*/ 85827 h 175868"/>
              <a:gd name="connsiteX150" fmla="*/ 358274 w 1367354"/>
              <a:gd name="connsiteY150" fmla="*/ 85827 h 175868"/>
              <a:gd name="connsiteX151" fmla="*/ 361390 w 1367354"/>
              <a:gd name="connsiteY151" fmla="*/ 77397 h 175868"/>
              <a:gd name="connsiteX152" fmla="*/ 404833 w 1367354"/>
              <a:gd name="connsiteY152" fmla="*/ 77397 h 175868"/>
              <a:gd name="connsiteX153" fmla="*/ 287702 w 1367354"/>
              <a:gd name="connsiteY153" fmla="*/ 52290 h 175868"/>
              <a:gd name="connsiteX154" fmla="*/ 271755 w 1367354"/>
              <a:gd name="connsiteY154" fmla="*/ 95967 h 175868"/>
              <a:gd name="connsiteX155" fmla="*/ 270778 w 1367354"/>
              <a:gd name="connsiteY155" fmla="*/ 84727 h 175868"/>
              <a:gd name="connsiteX156" fmla="*/ 264912 w 1367354"/>
              <a:gd name="connsiteY156" fmla="*/ 52290 h 175868"/>
              <a:gd name="connsiteX157" fmla="*/ 220491 w 1367354"/>
              <a:gd name="connsiteY157" fmla="*/ 52290 h 175868"/>
              <a:gd name="connsiteX158" fmla="*/ 211387 w 1367354"/>
              <a:gd name="connsiteY158" fmla="*/ 77153 h 175868"/>
              <a:gd name="connsiteX159" fmla="*/ 217131 w 1367354"/>
              <a:gd name="connsiteY159" fmla="*/ 77153 h 175868"/>
              <a:gd name="connsiteX160" fmla="*/ 194157 w 1367354"/>
              <a:gd name="connsiteY160" fmla="*/ 140255 h 175868"/>
              <a:gd name="connsiteX161" fmla="*/ 226113 w 1367354"/>
              <a:gd name="connsiteY161" fmla="*/ 140255 h 175868"/>
              <a:gd name="connsiteX162" fmla="*/ 242182 w 1367354"/>
              <a:gd name="connsiteY162" fmla="*/ 96089 h 175868"/>
              <a:gd name="connsiteX163" fmla="*/ 243282 w 1367354"/>
              <a:gd name="connsiteY163" fmla="*/ 107390 h 175868"/>
              <a:gd name="connsiteX164" fmla="*/ 249026 w 1367354"/>
              <a:gd name="connsiteY164" fmla="*/ 140133 h 175868"/>
              <a:gd name="connsiteX165" fmla="*/ 287397 w 1367354"/>
              <a:gd name="connsiteY165" fmla="*/ 140133 h 175868"/>
              <a:gd name="connsiteX166" fmla="*/ 319353 w 1367354"/>
              <a:gd name="connsiteY166" fmla="*/ 52290 h 175868"/>
              <a:gd name="connsiteX167" fmla="*/ 287702 w 1367354"/>
              <a:gd name="connsiteY167" fmla="*/ 52290 h 175868"/>
              <a:gd name="connsiteX168" fmla="*/ 205705 w 1367354"/>
              <a:gd name="connsiteY168" fmla="*/ 77336 h 175868"/>
              <a:gd name="connsiteX169" fmla="*/ 214748 w 1367354"/>
              <a:gd name="connsiteY169" fmla="*/ 52290 h 175868"/>
              <a:gd name="connsiteX170" fmla="*/ 127374 w 1367354"/>
              <a:gd name="connsiteY170" fmla="*/ 52290 h 175868"/>
              <a:gd name="connsiteX171" fmla="*/ 118270 w 1367354"/>
              <a:gd name="connsiteY171" fmla="*/ 77275 h 175868"/>
              <a:gd name="connsiteX172" fmla="*/ 124013 w 1367354"/>
              <a:gd name="connsiteY172" fmla="*/ 77275 h 175868"/>
              <a:gd name="connsiteX173" fmla="*/ 101039 w 1367354"/>
              <a:gd name="connsiteY173" fmla="*/ 140377 h 175868"/>
              <a:gd name="connsiteX174" fmla="*/ 184442 w 1367354"/>
              <a:gd name="connsiteY174" fmla="*/ 140377 h 175868"/>
              <a:gd name="connsiteX175" fmla="*/ 193546 w 1367354"/>
              <a:gd name="connsiteY175" fmla="*/ 115454 h 175868"/>
              <a:gd name="connsiteX176" fmla="*/ 148270 w 1367354"/>
              <a:gd name="connsiteY176" fmla="*/ 115454 h 175868"/>
              <a:gd name="connsiteX177" fmla="*/ 151448 w 1367354"/>
              <a:gd name="connsiteY177" fmla="*/ 106596 h 175868"/>
              <a:gd name="connsiteX178" fmla="*/ 188108 w 1367354"/>
              <a:gd name="connsiteY178" fmla="*/ 106596 h 175868"/>
              <a:gd name="connsiteX179" fmla="*/ 195746 w 1367354"/>
              <a:gd name="connsiteY179" fmla="*/ 85705 h 175868"/>
              <a:gd name="connsiteX180" fmla="*/ 159391 w 1367354"/>
              <a:gd name="connsiteY180" fmla="*/ 85705 h 175868"/>
              <a:gd name="connsiteX181" fmla="*/ 162507 w 1367354"/>
              <a:gd name="connsiteY181" fmla="*/ 77275 h 175868"/>
              <a:gd name="connsiteX182" fmla="*/ 206011 w 1367354"/>
              <a:gd name="connsiteY182" fmla="*/ 77275 h 175868"/>
              <a:gd name="connsiteX183" fmla="*/ 59552 w 1367354"/>
              <a:gd name="connsiteY183" fmla="*/ 87904 h 175868"/>
              <a:gd name="connsiteX184" fmla="*/ 52098 w 1367354"/>
              <a:gd name="connsiteY184" fmla="*/ 108062 h 175868"/>
              <a:gd name="connsiteX185" fmla="*/ 63951 w 1367354"/>
              <a:gd name="connsiteY185" fmla="*/ 108062 h 175868"/>
              <a:gd name="connsiteX186" fmla="*/ 60713 w 1367354"/>
              <a:gd name="connsiteY186" fmla="*/ 116798 h 175868"/>
              <a:gd name="connsiteX187" fmla="*/ 50326 w 1367354"/>
              <a:gd name="connsiteY187" fmla="*/ 116798 h 175868"/>
              <a:gd name="connsiteX188" fmla="*/ 42566 w 1367354"/>
              <a:gd name="connsiteY188" fmla="*/ 96334 h 175868"/>
              <a:gd name="connsiteX189" fmla="*/ 67373 w 1367354"/>
              <a:gd name="connsiteY189" fmla="*/ 77213 h 175868"/>
              <a:gd name="connsiteX190" fmla="*/ 103361 w 1367354"/>
              <a:gd name="connsiteY190" fmla="*/ 77213 h 175868"/>
              <a:gd name="connsiteX191" fmla="*/ 112404 w 1367354"/>
              <a:gd name="connsiteY191" fmla="*/ 52290 h 175868"/>
              <a:gd name="connsiteX192" fmla="*/ 72994 w 1367354"/>
              <a:gd name="connsiteY192" fmla="*/ 52290 h 175868"/>
              <a:gd name="connsiteX193" fmla="*/ 4072 w 1367354"/>
              <a:gd name="connsiteY193" fmla="*/ 96334 h 175868"/>
              <a:gd name="connsiteX194" fmla="*/ 35539 w 1367354"/>
              <a:gd name="connsiteY194" fmla="*/ 140377 h 175868"/>
              <a:gd name="connsiteX195" fmla="*/ 86986 w 1367354"/>
              <a:gd name="connsiteY195" fmla="*/ 140377 h 175868"/>
              <a:gd name="connsiteX196" fmla="*/ 98717 w 1367354"/>
              <a:gd name="connsiteY196" fmla="*/ 108062 h 175868"/>
              <a:gd name="connsiteX197" fmla="*/ 103667 w 1367354"/>
              <a:gd name="connsiteY197" fmla="*/ 108062 h 175868"/>
              <a:gd name="connsiteX198" fmla="*/ 111060 w 1367354"/>
              <a:gd name="connsiteY198" fmla="*/ 87720 h 175868"/>
              <a:gd name="connsiteX199" fmla="*/ 615875 w 1367354"/>
              <a:gd name="connsiteY199" fmla="*/ 140499 h 175868"/>
              <a:gd name="connsiteX200" fmla="*/ 690357 w 1367354"/>
              <a:gd name="connsiteY200" fmla="*/ 140499 h 175868"/>
              <a:gd name="connsiteX201" fmla="*/ 699400 w 1367354"/>
              <a:gd name="connsiteY201" fmla="*/ 115576 h 175868"/>
              <a:gd name="connsiteX202" fmla="*/ 662740 w 1367354"/>
              <a:gd name="connsiteY202" fmla="*/ 115576 h 175868"/>
              <a:gd name="connsiteX203" fmla="*/ 686141 w 1367354"/>
              <a:gd name="connsiteY203" fmla="*/ 52290 h 175868"/>
              <a:gd name="connsiteX204" fmla="*/ 648198 w 1367354"/>
              <a:gd name="connsiteY204" fmla="*/ 52290 h 175868"/>
              <a:gd name="connsiteX205" fmla="*/ 449314 w 1367354"/>
              <a:gd name="connsiteY205" fmla="*/ 91997 h 175868"/>
              <a:gd name="connsiteX206" fmla="*/ 456096 w 1367354"/>
              <a:gd name="connsiteY206" fmla="*/ 73671 h 175868"/>
              <a:gd name="connsiteX207" fmla="*/ 469050 w 1367354"/>
              <a:gd name="connsiteY207" fmla="*/ 73671 h 175868"/>
              <a:gd name="connsiteX208" fmla="*/ 476565 w 1367354"/>
              <a:gd name="connsiteY208" fmla="*/ 82956 h 175868"/>
              <a:gd name="connsiteX209" fmla="*/ 460190 w 1367354"/>
              <a:gd name="connsiteY209" fmla="*/ 92241 h 175868"/>
              <a:gd name="connsiteX210" fmla="*/ 571027 w 1367354"/>
              <a:gd name="connsiteY210" fmla="*/ 105863 h 175868"/>
              <a:gd name="connsiteX211" fmla="*/ 555691 w 1367354"/>
              <a:gd name="connsiteY211" fmla="*/ 105863 h 175868"/>
              <a:gd name="connsiteX212" fmla="*/ 565406 w 1367354"/>
              <a:gd name="connsiteY212" fmla="*/ 91264 h 175868"/>
              <a:gd name="connsiteX213" fmla="*/ 573716 w 1367354"/>
              <a:gd name="connsiteY213" fmla="*/ 77763 h 175868"/>
              <a:gd name="connsiteX214" fmla="*/ 572127 w 1367354"/>
              <a:gd name="connsiteY214" fmla="*/ 91264 h 1758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</a:cxnLst>
            <a:rect l="l" t="t" r="r" b="b"/>
            <a:pathLst>
              <a:path w="1367354" h="175868">
                <a:moveTo>
                  <a:pt x="1350246" y="63164"/>
                </a:moveTo>
                <a:lnTo>
                  <a:pt x="1353974" y="63164"/>
                </a:lnTo>
                <a:lnTo>
                  <a:pt x="1353974" y="57055"/>
                </a:lnTo>
                <a:cubicBezTo>
                  <a:pt x="1353974" y="55650"/>
                  <a:pt x="1353974" y="54001"/>
                  <a:pt x="1353974" y="54001"/>
                </a:cubicBezTo>
                <a:cubicBezTo>
                  <a:pt x="1353974" y="54001"/>
                  <a:pt x="1354401" y="55772"/>
                  <a:pt x="1354829" y="57055"/>
                </a:cubicBezTo>
                <a:lnTo>
                  <a:pt x="1356906" y="63164"/>
                </a:lnTo>
                <a:lnTo>
                  <a:pt x="1360267" y="63164"/>
                </a:lnTo>
                <a:lnTo>
                  <a:pt x="1362344" y="57055"/>
                </a:lnTo>
                <a:lnTo>
                  <a:pt x="1363261" y="54001"/>
                </a:lnTo>
                <a:cubicBezTo>
                  <a:pt x="1363261" y="54001"/>
                  <a:pt x="1363261" y="55833"/>
                  <a:pt x="1363261" y="57055"/>
                </a:cubicBezTo>
                <a:lnTo>
                  <a:pt x="1363261" y="63164"/>
                </a:lnTo>
                <a:lnTo>
                  <a:pt x="1367355" y="63164"/>
                </a:lnTo>
                <a:lnTo>
                  <a:pt x="1367355" y="49297"/>
                </a:lnTo>
                <a:lnTo>
                  <a:pt x="1361917" y="49297"/>
                </a:lnTo>
                <a:lnTo>
                  <a:pt x="1359473" y="56872"/>
                </a:lnTo>
                <a:cubicBezTo>
                  <a:pt x="1359473" y="57849"/>
                  <a:pt x="1358801" y="59254"/>
                  <a:pt x="1358801" y="59254"/>
                </a:cubicBezTo>
                <a:cubicBezTo>
                  <a:pt x="1358801" y="59254"/>
                  <a:pt x="1358495" y="57849"/>
                  <a:pt x="1358189" y="56872"/>
                </a:cubicBezTo>
                <a:lnTo>
                  <a:pt x="1355745" y="49297"/>
                </a:lnTo>
                <a:lnTo>
                  <a:pt x="1350308" y="49297"/>
                </a:lnTo>
                <a:lnTo>
                  <a:pt x="1350308" y="63164"/>
                </a:lnTo>
                <a:close/>
                <a:moveTo>
                  <a:pt x="1340287" y="63164"/>
                </a:moveTo>
                <a:lnTo>
                  <a:pt x="1344564" y="63164"/>
                </a:lnTo>
                <a:lnTo>
                  <a:pt x="1344564" y="52290"/>
                </a:lnTo>
                <a:lnTo>
                  <a:pt x="1348780" y="52290"/>
                </a:lnTo>
                <a:lnTo>
                  <a:pt x="1348780" y="49297"/>
                </a:lnTo>
                <a:lnTo>
                  <a:pt x="1336071" y="49297"/>
                </a:lnTo>
                <a:lnTo>
                  <a:pt x="1336071" y="52290"/>
                </a:lnTo>
                <a:lnTo>
                  <a:pt x="1340287" y="52290"/>
                </a:lnTo>
                <a:close/>
                <a:moveTo>
                  <a:pt x="1294583" y="75381"/>
                </a:moveTo>
                <a:lnTo>
                  <a:pt x="1263239" y="75381"/>
                </a:lnTo>
                <a:lnTo>
                  <a:pt x="1263239" y="105924"/>
                </a:lnTo>
                <a:lnTo>
                  <a:pt x="1231955" y="75381"/>
                </a:lnTo>
                <a:lnTo>
                  <a:pt x="1205071" y="49114"/>
                </a:lnTo>
                <a:lnTo>
                  <a:pt x="1294583" y="49114"/>
                </a:lnTo>
                <a:close/>
                <a:moveTo>
                  <a:pt x="1263239" y="129870"/>
                </a:moveTo>
                <a:lnTo>
                  <a:pt x="1231955" y="99327"/>
                </a:lnTo>
                <a:lnTo>
                  <a:pt x="1231955" y="84055"/>
                </a:lnTo>
                <a:lnTo>
                  <a:pt x="1263239" y="114599"/>
                </a:lnTo>
                <a:close/>
                <a:moveTo>
                  <a:pt x="1231955" y="138606"/>
                </a:moveTo>
                <a:lnTo>
                  <a:pt x="1231955" y="108062"/>
                </a:lnTo>
                <a:lnTo>
                  <a:pt x="1263239" y="138606"/>
                </a:lnTo>
                <a:close/>
                <a:moveTo>
                  <a:pt x="1225173" y="84116"/>
                </a:moveTo>
                <a:lnTo>
                  <a:pt x="1225173" y="138606"/>
                </a:lnTo>
                <a:lnTo>
                  <a:pt x="1171404" y="138606"/>
                </a:lnTo>
                <a:cubicBezTo>
                  <a:pt x="1146964" y="138056"/>
                  <a:pt x="1122157" y="121135"/>
                  <a:pt x="1122157" y="93951"/>
                </a:cubicBezTo>
                <a:cubicBezTo>
                  <a:pt x="1122157" y="66768"/>
                  <a:pt x="1146597" y="49786"/>
                  <a:pt x="1171404" y="49236"/>
                </a:cubicBezTo>
                <a:lnTo>
                  <a:pt x="1197311" y="74465"/>
                </a:lnTo>
                <a:lnTo>
                  <a:pt x="1171404" y="74465"/>
                </a:lnTo>
                <a:cubicBezTo>
                  <a:pt x="1160638" y="74465"/>
                  <a:pt x="1151913" y="83188"/>
                  <a:pt x="1151913" y="93951"/>
                </a:cubicBezTo>
                <a:cubicBezTo>
                  <a:pt x="1151913" y="104715"/>
                  <a:pt x="1160638" y="113438"/>
                  <a:pt x="1171404" y="113438"/>
                </a:cubicBezTo>
                <a:lnTo>
                  <a:pt x="1195845" y="113438"/>
                </a:lnTo>
                <a:lnTo>
                  <a:pt x="1195845" y="106046"/>
                </a:lnTo>
                <a:lnTo>
                  <a:pt x="1172932" y="106046"/>
                </a:lnTo>
                <a:cubicBezTo>
                  <a:pt x="1166284" y="107213"/>
                  <a:pt x="1159948" y="102766"/>
                  <a:pt x="1158787" y="96120"/>
                </a:cubicBezTo>
                <a:cubicBezTo>
                  <a:pt x="1157620" y="89474"/>
                  <a:pt x="1162068" y="83145"/>
                  <a:pt x="1168716" y="81978"/>
                </a:cubicBezTo>
                <a:cubicBezTo>
                  <a:pt x="1170109" y="81734"/>
                  <a:pt x="1171539" y="81734"/>
                  <a:pt x="1172932" y="81978"/>
                </a:cubicBezTo>
                <a:lnTo>
                  <a:pt x="1224929" y="81978"/>
                </a:lnTo>
                <a:close/>
                <a:moveTo>
                  <a:pt x="1196089" y="49114"/>
                </a:moveTo>
                <a:lnTo>
                  <a:pt x="1221996" y="74342"/>
                </a:lnTo>
                <a:lnTo>
                  <a:pt x="1206293" y="74342"/>
                </a:lnTo>
                <a:lnTo>
                  <a:pt x="1180386" y="49114"/>
                </a:lnTo>
                <a:close/>
                <a:moveTo>
                  <a:pt x="1206843" y="33781"/>
                </a:moveTo>
                <a:lnTo>
                  <a:pt x="1094234" y="0"/>
                </a:lnTo>
                <a:lnTo>
                  <a:pt x="1094234" y="141904"/>
                </a:lnTo>
                <a:lnTo>
                  <a:pt x="1207087" y="175869"/>
                </a:lnTo>
                <a:lnTo>
                  <a:pt x="1319940" y="141904"/>
                </a:lnTo>
                <a:lnTo>
                  <a:pt x="1319940" y="0"/>
                </a:lnTo>
                <a:close/>
                <a:moveTo>
                  <a:pt x="1061423" y="76725"/>
                </a:moveTo>
                <a:lnTo>
                  <a:pt x="1070527" y="51863"/>
                </a:lnTo>
                <a:lnTo>
                  <a:pt x="984252" y="51863"/>
                </a:lnTo>
                <a:lnTo>
                  <a:pt x="974904" y="76725"/>
                </a:lnTo>
                <a:lnTo>
                  <a:pt x="981686" y="76725"/>
                </a:lnTo>
                <a:lnTo>
                  <a:pt x="958773" y="139400"/>
                </a:lnTo>
                <a:lnTo>
                  <a:pt x="1040221" y="139400"/>
                </a:lnTo>
                <a:lnTo>
                  <a:pt x="1049264" y="114660"/>
                </a:lnTo>
                <a:lnTo>
                  <a:pt x="1005026" y="114660"/>
                </a:lnTo>
                <a:lnTo>
                  <a:pt x="1008204" y="105802"/>
                </a:lnTo>
                <a:lnTo>
                  <a:pt x="1043826" y="105802"/>
                </a:lnTo>
                <a:lnTo>
                  <a:pt x="1051463" y="84972"/>
                </a:lnTo>
                <a:lnTo>
                  <a:pt x="1015841" y="84972"/>
                </a:lnTo>
                <a:lnTo>
                  <a:pt x="1018957" y="76603"/>
                </a:lnTo>
                <a:lnTo>
                  <a:pt x="1061423" y="76603"/>
                </a:lnTo>
                <a:close/>
                <a:moveTo>
                  <a:pt x="940626" y="51863"/>
                </a:moveTo>
                <a:lnTo>
                  <a:pt x="877753" y="51863"/>
                </a:lnTo>
                <a:lnTo>
                  <a:pt x="868710" y="76725"/>
                </a:lnTo>
                <a:lnTo>
                  <a:pt x="875798" y="76725"/>
                </a:lnTo>
                <a:lnTo>
                  <a:pt x="853008" y="139400"/>
                </a:lnTo>
                <a:lnTo>
                  <a:pt x="890279" y="139400"/>
                </a:lnTo>
                <a:lnTo>
                  <a:pt x="900911" y="110139"/>
                </a:lnTo>
                <a:lnTo>
                  <a:pt x="906654" y="110139"/>
                </a:lnTo>
                <a:cubicBezTo>
                  <a:pt x="911542" y="110139"/>
                  <a:pt x="913192" y="111911"/>
                  <a:pt x="913253" y="115881"/>
                </a:cubicBezTo>
                <a:lnTo>
                  <a:pt x="914047" y="139400"/>
                </a:lnTo>
                <a:lnTo>
                  <a:pt x="951808" y="139400"/>
                </a:lnTo>
                <a:lnTo>
                  <a:pt x="950708" y="117287"/>
                </a:lnTo>
                <a:cubicBezTo>
                  <a:pt x="951148" y="112546"/>
                  <a:pt x="948520" y="108050"/>
                  <a:pt x="944170" y="106108"/>
                </a:cubicBezTo>
                <a:cubicBezTo>
                  <a:pt x="956183" y="102491"/>
                  <a:pt x="965800" y="93444"/>
                  <a:pt x="970138" y="81673"/>
                </a:cubicBezTo>
                <a:cubicBezTo>
                  <a:pt x="977470" y="61881"/>
                  <a:pt x="970627" y="51740"/>
                  <a:pt x="940626" y="51740"/>
                </a:cubicBezTo>
                <a:moveTo>
                  <a:pt x="907754" y="91325"/>
                </a:moveTo>
                <a:lnTo>
                  <a:pt x="914475" y="72999"/>
                </a:lnTo>
                <a:lnTo>
                  <a:pt x="927245" y="72999"/>
                </a:lnTo>
                <a:cubicBezTo>
                  <a:pt x="933966" y="72999"/>
                  <a:pt x="936838" y="75870"/>
                  <a:pt x="934516" y="82284"/>
                </a:cubicBezTo>
                <a:cubicBezTo>
                  <a:pt x="932194" y="88698"/>
                  <a:pt x="927306" y="91569"/>
                  <a:pt x="918508" y="91569"/>
                </a:cubicBezTo>
                <a:close/>
                <a:moveTo>
                  <a:pt x="800339" y="139522"/>
                </a:moveTo>
                <a:lnTo>
                  <a:pt x="837610" y="139522"/>
                </a:lnTo>
                <a:lnTo>
                  <a:pt x="869566" y="51740"/>
                </a:lnTo>
                <a:lnTo>
                  <a:pt x="832294" y="51740"/>
                </a:lnTo>
                <a:close/>
                <a:moveTo>
                  <a:pt x="729156" y="139522"/>
                </a:moveTo>
                <a:lnTo>
                  <a:pt x="766428" y="139522"/>
                </a:lnTo>
                <a:lnTo>
                  <a:pt x="789341" y="76725"/>
                </a:lnTo>
                <a:lnTo>
                  <a:pt x="814392" y="76725"/>
                </a:lnTo>
                <a:lnTo>
                  <a:pt x="823435" y="51863"/>
                </a:lnTo>
                <a:lnTo>
                  <a:pt x="736244" y="51863"/>
                </a:lnTo>
                <a:lnTo>
                  <a:pt x="727201" y="76725"/>
                </a:lnTo>
                <a:lnTo>
                  <a:pt x="752069" y="76725"/>
                </a:lnTo>
                <a:close/>
                <a:moveTo>
                  <a:pt x="608971" y="140683"/>
                </a:moveTo>
                <a:lnTo>
                  <a:pt x="608971" y="52596"/>
                </a:lnTo>
                <a:lnTo>
                  <a:pt x="552391" y="52596"/>
                </a:lnTo>
                <a:lnTo>
                  <a:pt x="543898" y="76175"/>
                </a:lnTo>
                <a:lnTo>
                  <a:pt x="496667" y="140683"/>
                </a:lnTo>
                <a:lnTo>
                  <a:pt x="533328" y="140683"/>
                </a:lnTo>
                <a:lnTo>
                  <a:pt x="541577" y="128038"/>
                </a:lnTo>
                <a:lnTo>
                  <a:pt x="570050" y="128038"/>
                </a:lnTo>
                <a:lnTo>
                  <a:pt x="569255" y="140683"/>
                </a:lnTo>
                <a:close/>
                <a:moveTo>
                  <a:pt x="482553" y="52290"/>
                </a:moveTo>
                <a:lnTo>
                  <a:pt x="419436" y="52290"/>
                </a:lnTo>
                <a:lnTo>
                  <a:pt x="410393" y="77275"/>
                </a:lnTo>
                <a:lnTo>
                  <a:pt x="416503" y="77275"/>
                </a:lnTo>
                <a:lnTo>
                  <a:pt x="393529" y="140377"/>
                </a:lnTo>
                <a:lnTo>
                  <a:pt x="431656" y="140377"/>
                </a:lnTo>
                <a:lnTo>
                  <a:pt x="442410" y="111056"/>
                </a:lnTo>
                <a:lnTo>
                  <a:pt x="448520" y="111056"/>
                </a:lnTo>
                <a:cubicBezTo>
                  <a:pt x="453530" y="111056"/>
                  <a:pt x="455180" y="112827"/>
                  <a:pt x="455302" y="116798"/>
                </a:cubicBezTo>
                <a:lnTo>
                  <a:pt x="456280" y="140438"/>
                </a:lnTo>
                <a:lnTo>
                  <a:pt x="494895" y="140438"/>
                </a:lnTo>
                <a:lnTo>
                  <a:pt x="493673" y="118203"/>
                </a:lnTo>
                <a:cubicBezTo>
                  <a:pt x="493997" y="113420"/>
                  <a:pt x="491284" y="108948"/>
                  <a:pt x="486891" y="107024"/>
                </a:cubicBezTo>
                <a:cubicBezTo>
                  <a:pt x="499111" y="103530"/>
                  <a:pt x="508967" y="94471"/>
                  <a:pt x="513470" y="82589"/>
                </a:cubicBezTo>
                <a:cubicBezTo>
                  <a:pt x="520558" y="62553"/>
                  <a:pt x="513470" y="52473"/>
                  <a:pt x="482920" y="52473"/>
                </a:cubicBezTo>
                <a:moveTo>
                  <a:pt x="404833" y="77336"/>
                </a:moveTo>
                <a:lnTo>
                  <a:pt x="413937" y="52290"/>
                </a:lnTo>
                <a:lnTo>
                  <a:pt x="326501" y="52290"/>
                </a:lnTo>
                <a:lnTo>
                  <a:pt x="317459" y="77275"/>
                </a:lnTo>
                <a:lnTo>
                  <a:pt x="323202" y="77275"/>
                </a:lnTo>
                <a:lnTo>
                  <a:pt x="299923" y="140499"/>
                </a:lnTo>
                <a:lnTo>
                  <a:pt x="383631" y="140499"/>
                </a:lnTo>
                <a:lnTo>
                  <a:pt x="392674" y="115576"/>
                </a:lnTo>
                <a:lnTo>
                  <a:pt x="347459" y="115576"/>
                </a:lnTo>
                <a:lnTo>
                  <a:pt x="350636" y="106718"/>
                </a:lnTo>
                <a:lnTo>
                  <a:pt x="387297" y="106718"/>
                </a:lnTo>
                <a:lnTo>
                  <a:pt x="394934" y="85827"/>
                </a:lnTo>
                <a:lnTo>
                  <a:pt x="358274" y="85827"/>
                </a:lnTo>
                <a:lnTo>
                  <a:pt x="361390" y="77397"/>
                </a:lnTo>
                <a:lnTo>
                  <a:pt x="404833" y="77397"/>
                </a:lnTo>
                <a:close/>
                <a:moveTo>
                  <a:pt x="287702" y="52290"/>
                </a:moveTo>
                <a:lnTo>
                  <a:pt x="271755" y="95967"/>
                </a:lnTo>
                <a:cubicBezTo>
                  <a:pt x="271717" y="92198"/>
                  <a:pt x="271390" y="88441"/>
                  <a:pt x="270778" y="84727"/>
                </a:cubicBezTo>
                <a:lnTo>
                  <a:pt x="264912" y="52290"/>
                </a:lnTo>
                <a:lnTo>
                  <a:pt x="220491" y="52290"/>
                </a:lnTo>
                <a:lnTo>
                  <a:pt x="211387" y="77153"/>
                </a:lnTo>
                <a:lnTo>
                  <a:pt x="217131" y="77153"/>
                </a:lnTo>
                <a:lnTo>
                  <a:pt x="194157" y="140255"/>
                </a:lnTo>
                <a:lnTo>
                  <a:pt x="226113" y="140255"/>
                </a:lnTo>
                <a:lnTo>
                  <a:pt x="242182" y="96089"/>
                </a:lnTo>
                <a:cubicBezTo>
                  <a:pt x="242322" y="99877"/>
                  <a:pt x="242689" y="103652"/>
                  <a:pt x="243282" y="107390"/>
                </a:cubicBezTo>
                <a:lnTo>
                  <a:pt x="249026" y="140133"/>
                </a:lnTo>
                <a:lnTo>
                  <a:pt x="287397" y="140133"/>
                </a:lnTo>
                <a:lnTo>
                  <a:pt x="319353" y="52290"/>
                </a:lnTo>
                <a:lnTo>
                  <a:pt x="287702" y="52290"/>
                </a:lnTo>
                <a:close/>
                <a:moveTo>
                  <a:pt x="205705" y="77336"/>
                </a:moveTo>
                <a:lnTo>
                  <a:pt x="214748" y="52290"/>
                </a:lnTo>
                <a:lnTo>
                  <a:pt x="127374" y="52290"/>
                </a:lnTo>
                <a:lnTo>
                  <a:pt x="118270" y="77275"/>
                </a:lnTo>
                <a:lnTo>
                  <a:pt x="124013" y="77275"/>
                </a:lnTo>
                <a:lnTo>
                  <a:pt x="101039" y="140377"/>
                </a:lnTo>
                <a:lnTo>
                  <a:pt x="184442" y="140377"/>
                </a:lnTo>
                <a:lnTo>
                  <a:pt x="193546" y="115454"/>
                </a:lnTo>
                <a:lnTo>
                  <a:pt x="148270" y="115454"/>
                </a:lnTo>
                <a:lnTo>
                  <a:pt x="151448" y="106596"/>
                </a:lnTo>
                <a:lnTo>
                  <a:pt x="188108" y="106596"/>
                </a:lnTo>
                <a:lnTo>
                  <a:pt x="195746" y="85705"/>
                </a:lnTo>
                <a:lnTo>
                  <a:pt x="159391" y="85705"/>
                </a:lnTo>
                <a:lnTo>
                  <a:pt x="162507" y="77275"/>
                </a:lnTo>
                <a:lnTo>
                  <a:pt x="206011" y="77275"/>
                </a:lnTo>
                <a:close/>
                <a:moveTo>
                  <a:pt x="59552" y="87904"/>
                </a:moveTo>
                <a:lnTo>
                  <a:pt x="52098" y="108062"/>
                </a:lnTo>
                <a:lnTo>
                  <a:pt x="63951" y="108062"/>
                </a:lnTo>
                <a:lnTo>
                  <a:pt x="60713" y="116798"/>
                </a:lnTo>
                <a:lnTo>
                  <a:pt x="50326" y="116798"/>
                </a:lnTo>
                <a:cubicBezTo>
                  <a:pt x="37311" y="116798"/>
                  <a:pt x="37189" y="111239"/>
                  <a:pt x="42566" y="96334"/>
                </a:cubicBezTo>
                <a:cubicBezTo>
                  <a:pt x="47943" y="81428"/>
                  <a:pt x="53197" y="77213"/>
                  <a:pt x="67373" y="77213"/>
                </a:cubicBezTo>
                <a:lnTo>
                  <a:pt x="103361" y="77213"/>
                </a:lnTo>
                <a:lnTo>
                  <a:pt x="112404" y="52290"/>
                </a:lnTo>
                <a:lnTo>
                  <a:pt x="72994" y="52290"/>
                </a:lnTo>
                <a:cubicBezTo>
                  <a:pt x="37067" y="52290"/>
                  <a:pt x="14704" y="67257"/>
                  <a:pt x="4072" y="96334"/>
                </a:cubicBezTo>
                <a:cubicBezTo>
                  <a:pt x="-6559" y="125411"/>
                  <a:pt x="3522" y="140377"/>
                  <a:pt x="35539" y="140377"/>
                </a:cubicBezTo>
                <a:lnTo>
                  <a:pt x="86986" y="140377"/>
                </a:lnTo>
                <a:lnTo>
                  <a:pt x="98717" y="108062"/>
                </a:lnTo>
                <a:lnTo>
                  <a:pt x="103667" y="108062"/>
                </a:lnTo>
                <a:lnTo>
                  <a:pt x="111060" y="87720"/>
                </a:lnTo>
                <a:close/>
                <a:moveTo>
                  <a:pt x="615875" y="140499"/>
                </a:moveTo>
                <a:lnTo>
                  <a:pt x="690357" y="140499"/>
                </a:lnTo>
                <a:lnTo>
                  <a:pt x="699400" y="115576"/>
                </a:lnTo>
                <a:lnTo>
                  <a:pt x="662740" y="115576"/>
                </a:lnTo>
                <a:lnTo>
                  <a:pt x="686141" y="52290"/>
                </a:lnTo>
                <a:lnTo>
                  <a:pt x="648198" y="52290"/>
                </a:lnTo>
                <a:close/>
                <a:moveTo>
                  <a:pt x="449314" y="91997"/>
                </a:moveTo>
                <a:lnTo>
                  <a:pt x="456096" y="73671"/>
                </a:lnTo>
                <a:lnTo>
                  <a:pt x="469050" y="73671"/>
                </a:lnTo>
                <a:cubicBezTo>
                  <a:pt x="475893" y="73671"/>
                  <a:pt x="478887" y="76542"/>
                  <a:pt x="476565" y="82956"/>
                </a:cubicBezTo>
                <a:cubicBezTo>
                  <a:pt x="474243" y="89370"/>
                  <a:pt x="469233" y="92241"/>
                  <a:pt x="460190" y="92241"/>
                </a:cubicBezTo>
                <a:close/>
                <a:moveTo>
                  <a:pt x="571027" y="105863"/>
                </a:moveTo>
                <a:lnTo>
                  <a:pt x="555691" y="105863"/>
                </a:lnTo>
                <a:lnTo>
                  <a:pt x="565406" y="91264"/>
                </a:lnTo>
                <a:cubicBezTo>
                  <a:pt x="568950" y="85827"/>
                  <a:pt x="573716" y="77763"/>
                  <a:pt x="573716" y="77763"/>
                </a:cubicBezTo>
                <a:cubicBezTo>
                  <a:pt x="573716" y="77763"/>
                  <a:pt x="572616" y="85705"/>
                  <a:pt x="572127" y="91264"/>
                </a:cubicBezTo>
                <a:close/>
              </a:path>
            </a:pathLst>
          </a:custGeom>
          <a:solidFill>
            <a:srgbClr val="C11B1A"/>
          </a:solidFill>
          <a:ln w="6099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870" name="Gruppieren 869">
            <a:extLst>
              <a:ext uri="{FF2B5EF4-FFF2-40B4-BE49-F238E27FC236}">
                <a16:creationId xmlns:a16="http://schemas.microsoft.com/office/drawing/2014/main" id="{C0B0D656-56AB-314F-9EC6-BFF07FDED0AC}"/>
              </a:ext>
            </a:extLst>
          </p:cNvPr>
          <p:cNvGrpSpPr/>
          <p:nvPr/>
        </p:nvGrpSpPr>
        <p:grpSpPr>
          <a:xfrm>
            <a:off x="3995936" y="3977199"/>
            <a:ext cx="1901513" cy="709738"/>
            <a:chOff x="3147425" y="3685098"/>
            <a:chExt cx="1901513" cy="709738"/>
          </a:xfrm>
        </p:grpSpPr>
        <p:sp>
          <p:nvSpPr>
            <p:cNvPr id="777" name="Rechteck 776">
              <a:extLst>
                <a:ext uri="{FF2B5EF4-FFF2-40B4-BE49-F238E27FC236}">
                  <a16:creationId xmlns:a16="http://schemas.microsoft.com/office/drawing/2014/main" id="{C3D6C704-5650-DA41-AB43-078E76EDDF90}"/>
                </a:ext>
              </a:extLst>
            </p:cNvPr>
            <p:cNvSpPr/>
            <p:nvPr/>
          </p:nvSpPr>
          <p:spPr>
            <a:xfrm>
              <a:off x="3237435" y="3908533"/>
              <a:ext cx="1607444" cy="486303"/>
            </a:xfrm>
            <a:prstGeom prst="rect">
              <a:avLst/>
            </a:prstGeom>
            <a:solidFill>
              <a:srgbClr val="C11B1A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r>
                <a:rPr lang="cs-CZ" sz="1000" dirty="0">
                  <a:solidFill>
                    <a:schemeClr val="bg1"/>
                  </a:solidFill>
                </a:rPr>
                <a:t>nakládkové</a:t>
              </a:r>
              <a:r>
                <a:rPr lang="de-DE" sz="1000" dirty="0">
                  <a:solidFill>
                    <a:schemeClr val="bg1"/>
                  </a:solidFill>
                </a:rPr>
                <a:t>/</a:t>
              </a:r>
              <a:r>
                <a:rPr lang="cs-CZ" sz="1000" dirty="0">
                  <a:solidFill>
                    <a:schemeClr val="bg1"/>
                  </a:solidFill>
                </a:rPr>
                <a:t>vykládkové</a:t>
              </a:r>
              <a:r>
                <a:rPr lang="de-DE" sz="1000" dirty="0">
                  <a:solidFill>
                    <a:schemeClr val="bg1"/>
                  </a:solidFill>
                </a:rPr>
                <a:t> </a:t>
              </a:r>
              <a:r>
                <a:rPr lang="cs-CZ" sz="1000" dirty="0">
                  <a:solidFill>
                    <a:schemeClr val="bg1"/>
                  </a:solidFill>
                </a:rPr>
                <a:t>aplikace</a:t>
              </a:r>
              <a:r>
                <a:rPr lang="de-DE" sz="1000" dirty="0">
                  <a:solidFill>
                    <a:schemeClr val="bg1"/>
                  </a:solidFill>
                </a:rPr>
                <a:t>.</a:t>
              </a:r>
            </a:p>
          </p:txBody>
        </p:sp>
        <p:sp>
          <p:nvSpPr>
            <p:cNvPr id="778" name="Textfeld 777">
              <a:extLst>
                <a:ext uri="{FF2B5EF4-FFF2-40B4-BE49-F238E27FC236}">
                  <a16:creationId xmlns:a16="http://schemas.microsoft.com/office/drawing/2014/main" id="{3C49A7D4-DA03-D449-B617-A2943FC23B31}"/>
                </a:ext>
              </a:extLst>
            </p:cNvPr>
            <p:cNvSpPr txBox="1"/>
            <p:nvPr/>
          </p:nvSpPr>
          <p:spPr>
            <a:xfrm>
              <a:off x="3147425" y="3685098"/>
              <a:ext cx="163234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1000" b="1" dirty="0">
                  <a:solidFill>
                    <a:srgbClr val="FF0000"/>
                  </a:solidFill>
                </a:rPr>
                <a:t>Zvláště pro</a:t>
              </a:r>
              <a:endParaRPr lang="de-DE" sz="1000" b="1" dirty="0">
                <a:solidFill>
                  <a:srgbClr val="FF0000"/>
                </a:solidFill>
              </a:endParaRPr>
            </a:p>
          </p:txBody>
        </p:sp>
        <p:grpSp>
          <p:nvGrpSpPr>
            <p:cNvPr id="779" name="Grafik 8">
              <a:extLst>
                <a:ext uri="{FF2B5EF4-FFF2-40B4-BE49-F238E27FC236}">
                  <a16:creationId xmlns:a16="http://schemas.microsoft.com/office/drawing/2014/main" id="{BEDD75D2-AA1B-8342-B392-34A6A79590AA}"/>
                </a:ext>
              </a:extLst>
            </p:cNvPr>
            <p:cNvGrpSpPr/>
            <p:nvPr/>
          </p:nvGrpSpPr>
          <p:grpSpPr>
            <a:xfrm>
              <a:off x="4640820" y="3947625"/>
              <a:ext cx="408118" cy="408118"/>
              <a:chOff x="4101532" y="-753162"/>
              <a:chExt cx="331931" cy="329569"/>
            </a:xfrm>
          </p:grpSpPr>
          <p:sp>
            <p:nvSpPr>
              <p:cNvPr id="780" name="Freihandform 779">
                <a:extLst>
                  <a:ext uri="{FF2B5EF4-FFF2-40B4-BE49-F238E27FC236}">
                    <a16:creationId xmlns:a16="http://schemas.microsoft.com/office/drawing/2014/main" id="{5038DA70-0C1B-1C4E-B438-EECC8C544DA5}"/>
                  </a:ext>
                </a:extLst>
              </p:cNvPr>
              <p:cNvSpPr/>
              <p:nvPr/>
            </p:nvSpPr>
            <p:spPr>
              <a:xfrm>
                <a:off x="4101532" y="-753162"/>
                <a:ext cx="331931" cy="329569"/>
              </a:xfrm>
              <a:custGeom>
                <a:avLst/>
                <a:gdLst>
                  <a:gd name="connsiteX0" fmla="*/ 165966 w 331931"/>
                  <a:gd name="connsiteY0" fmla="*/ 329570 h 329569"/>
                  <a:gd name="connsiteX1" fmla="*/ 331932 w 331931"/>
                  <a:gd name="connsiteY1" fmla="*/ 164785 h 329569"/>
                  <a:gd name="connsiteX2" fmla="*/ 165966 w 331931"/>
                  <a:gd name="connsiteY2" fmla="*/ 0 h 329569"/>
                  <a:gd name="connsiteX3" fmla="*/ 0 w 331931"/>
                  <a:gd name="connsiteY3" fmla="*/ 164785 h 329569"/>
                  <a:gd name="connsiteX4" fmla="*/ 165966 w 331931"/>
                  <a:gd name="connsiteY4" fmla="*/ 329570 h 329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1931" h="329569">
                    <a:moveTo>
                      <a:pt x="165966" y="329570"/>
                    </a:moveTo>
                    <a:cubicBezTo>
                      <a:pt x="257579" y="329570"/>
                      <a:pt x="331932" y="255763"/>
                      <a:pt x="331932" y="164785"/>
                    </a:cubicBezTo>
                    <a:cubicBezTo>
                      <a:pt x="331932" y="73807"/>
                      <a:pt x="257579" y="0"/>
                      <a:pt x="165966" y="0"/>
                    </a:cubicBezTo>
                    <a:cubicBezTo>
                      <a:pt x="74258" y="0"/>
                      <a:pt x="0" y="73807"/>
                      <a:pt x="0" y="164785"/>
                    </a:cubicBezTo>
                    <a:cubicBezTo>
                      <a:pt x="0" y="255763"/>
                      <a:pt x="74258" y="329570"/>
                      <a:pt x="165966" y="329570"/>
                    </a:cubicBezTo>
                  </a:path>
                </a:pathLst>
              </a:custGeom>
              <a:solidFill>
                <a:srgbClr val="F6F6F6"/>
              </a:solidFill>
              <a:ln w="9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81" name="Freihandform 780">
                <a:extLst>
                  <a:ext uri="{FF2B5EF4-FFF2-40B4-BE49-F238E27FC236}">
                    <a16:creationId xmlns:a16="http://schemas.microsoft.com/office/drawing/2014/main" id="{FCB32E3B-0313-2041-8CA8-CE9E9901B1D2}"/>
                  </a:ext>
                </a:extLst>
              </p:cNvPr>
              <p:cNvSpPr/>
              <p:nvPr/>
            </p:nvSpPr>
            <p:spPr>
              <a:xfrm>
                <a:off x="4101532" y="-753162"/>
                <a:ext cx="331931" cy="329569"/>
              </a:xfrm>
              <a:custGeom>
                <a:avLst/>
                <a:gdLst>
                  <a:gd name="connsiteX0" fmla="*/ 331932 w 331931"/>
                  <a:gd name="connsiteY0" fmla="*/ 164785 h 329569"/>
                  <a:gd name="connsiteX1" fmla="*/ 165966 w 331931"/>
                  <a:gd name="connsiteY1" fmla="*/ 329570 h 329569"/>
                  <a:gd name="connsiteX2" fmla="*/ 0 w 331931"/>
                  <a:gd name="connsiteY2" fmla="*/ 164785 h 329569"/>
                  <a:gd name="connsiteX3" fmla="*/ 165966 w 331931"/>
                  <a:gd name="connsiteY3" fmla="*/ 0 h 329569"/>
                  <a:gd name="connsiteX4" fmla="*/ 331932 w 331931"/>
                  <a:gd name="connsiteY4" fmla="*/ 164785 h 329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1931" h="329569">
                    <a:moveTo>
                      <a:pt x="331932" y="164785"/>
                    </a:moveTo>
                    <a:cubicBezTo>
                      <a:pt x="331932" y="255793"/>
                      <a:pt x="257626" y="329570"/>
                      <a:pt x="165966" y="329570"/>
                    </a:cubicBezTo>
                    <a:cubicBezTo>
                      <a:pt x="74305" y="329570"/>
                      <a:pt x="0" y="255793"/>
                      <a:pt x="0" y="164785"/>
                    </a:cubicBezTo>
                    <a:cubicBezTo>
                      <a:pt x="0" y="73777"/>
                      <a:pt x="74305" y="0"/>
                      <a:pt x="165966" y="0"/>
                    </a:cubicBezTo>
                    <a:cubicBezTo>
                      <a:pt x="257626" y="0"/>
                      <a:pt x="331932" y="73777"/>
                      <a:pt x="331932" y="164785"/>
                    </a:cubicBezTo>
                    <a:close/>
                  </a:path>
                </a:pathLst>
              </a:custGeom>
              <a:noFill/>
              <a:ln w="18926" cap="flat">
                <a:solidFill>
                  <a:srgbClr val="C11B1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82" name="Freihandform 781">
                <a:extLst>
                  <a:ext uri="{FF2B5EF4-FFF2-40B4-BE49-F238E27FC236}">
                    <a16:creationId xmlns:a16="http://schemas.microsoft.com/office/drawing/2014/main" id="{3B0BF22C-C9A2-A34D-8DEE-9CB3D0451538}"/>
                  </a:ext>
                </a:extLst>
              </p:cNvPr>
              <p:cNvSpPr/>
              <p:nvPr/>
            </p:nvSpPr>
            <p:spPr>
              <a:xfrm>
                <a:off x="4168487" y="-654310"/>
                <a:ext cx="36322" cy="131865"/>
              </a:xfrm>
              <a:custGeom>
                <a:avLst/>
                <a:gdLst>
                  <a:gd name="connsiteX0" fmla="*/ 25701 w 36322"/>
                  <a:gd name="connsiteY0" fmla="*/ 131866 h 131865"/>
                  <a:gd name="connsiteX1" fmla="*/ 10622 w 36322"/>
                  <a:gd name="connsiteY1" fmla="*/ 131866 h 131865"/>
                  <a:gd name="connsiteX2" fmla="*/ 0 w 36322"/>
                  <a:gd name="connsiteY2" fmla="*/ 122948 h 131865"/>
                  <a:gd name="connsiteX3" fmla="*/ 0 w 36322"/>
                  <a:gd name="connsiteY3" fmla="*/ 8918 h 131865"/>
                  <a:gd name="connsiteX4" fmla="*/ 10622 w 36322"/>
                  <a:gd name="connsiteY4" fmla="*/ 0 h 131865"/>
                  <a:gd name="connsiteX5" fmla="*/ 25701 w 36322"/>
                  <a:gd name="connsiteY5" fmla="*/ 0 h 131865"/>
                  <a:gd name="connsiteX6" fmla="*/ 36323 w 36322"/>
                  <a:gd name="connsiteY6" fmla="*/ 8918 h 131865"/>
                  <a:gd name="connsiteX7" fmla="*/ 36323 w 36322"/>
                  <a:gd name="connsiteY7" fmla="*/ 123043 h 131865"/>
                  <a:gd name="connsiteX8" fmla="*/ 25701 w 36322"/>
                  <a:gd name="connsiteY8" fmla="*/ 131866 h 131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322" h="131865">
                    <a:moveTo>
                      <a:pt x="25701" y="131866"/>
                    </a:moveTo>
                    <a:lnTo>
                      <a:pt x="10622" y="131866"/>
                    </a:lnTo>
                    <a:cubicBezTo>
                      <a:pt x="4742" y="131866"/>
                      <a:pt x="0" y="127881"/>
                      <a:pt x="0" y="122948"/>
                    </a:cubicBezTo>
                    <a:lnTo>
                      <a:pt x="0" y="8918"/>
                    </a:lnTo>
                    <a:cubicBezTo>
                      <a:pt x="0" y="3984"/>
                      <a:pt x="4742" y="0"/>
                      <a:pt x="10622" y="0"/>
                    </a:cubicBezTo>
                    <a:lnTo>
                      <a:pt x="25701" y="0"/>
                    </a:lnTo>
                    <a:cubicBezTo>
                      <a:pt x="31581" y="0"/>
                      <a:pt x="36323" y="3984"/>
                      <a:pt x="36323" y="8918"/>
                    </a:cubicBezTo>
                    <a:lnTo>
                      <a:pt x="36323" y="123043"/>
                    </a:lnTo>
                    <a:cubicBezTo>
                      <a:pt x="36323" y="127881"/>
                      <a:pt x="31581" y="131866"/>
                      <a:pt x="25701" y="131866"/>
                    </a:cubicBezTo>
                  </a:path>
                </a:pathLst>
              </a:custGeom>
              <a:solidFill>
                <a:srgbClr val="C11B1A"/>
              </a:solidFill>
              <a:ln w="9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83" name="Freihandform 782">
                <a:extLst>
                  <a:ext uri="{FF2B5EF4-FFF2-40B4-BE49-F238E27FC236}">
                    <a16:creationId xmlns:a16="http://schemas.microsoft.com/office/drawing/2014/main" id="{3597EEC2-3587-AE46-B592-54D7D004687F}"/>
                  </a:ext>
                </a:extLst>
              </p:cNvPr>
              <p:cNvSpPr/>
              <p:nvPr/>
            </p:nvSpPr>
            <p:spPr>
              <a:xfrm>
                <a:off x="4151037" y="-622719"/>
                <a:ext cx="38314" cy="68589"/>
              </a:xfrm>
              <a:custGeom>
                <a:avLst/>
                <a:gdLst>
                  <a:gd name="connsiteX0" fmla="*/ 27029 w 38314"/>
                  <a:gd name="connsiteY0" fmla="*/ 68589 h 68589"/>
                  <a:gd name="connsiteX1" fmla="*/ 11286 w 38314"/>
                  <a:gd name="connsiteY1" fmla="*/ 68589 h 68589"/>
                  <a:gd name="connsiteX2" fmla="*/ 0 w 38314"/>
                  <a:gd name="connsiteY2" fmla="*/ 59102 h 68589"/>
                  <a:gd name="connsiteX3" fmla="*/ 0 w 38314"/>
                  <a:gd name="connsiteY3" fmla="*/ 9487 h 68589"/>
                  <a:gd name="connsiteX4" fmla="*/ 11286 w 38314"/>
                  <a:gd name="connsiteY4" fmla="*/ 0 h 68589"/>
                  <a:gd name="connsiteX5" fmla="*/ 27029 w 38314"/>
                  <a:gd name="connsiteY5" fmla="*/ 0 h 68589"/>
                  <a:gd name="connsiteX6" fmla="*/ 38314 w 38314"/>
                  <a:gd name="connsiteY6" fmla="*/ 9487 h 68589"/>
                  <a:gd name="connsiteX7" fmla="*/ 38314 w 38314"/>
                  <a:gd name="connsiteY7" fmla="*/ 59102 h 68589"/>
                  <a:gd name="connsiteX8" fmla="*/ 27029 w 38314"/>
                  <a:gd name="connsiteY8" fmla="*/ 68589 h 68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314" h="68589">
                    <a:moveTo>
                      <a:pt x="27029" y="68589"/>
                    </a:moveTo>
                    <a:lnTo>
                      <a:pt x="11286" y="68589"/>
                    </a:lnTo>
                    <a:cubicBezTo>
                      <a:pt x="5026" y="68589"/>
                      <a:pt x="0" y="64320"/>
                      <a:pt x="0" y="59102"/>
                    </a:cubicBezTo>
                    <a:lnTo>
                      <a:pt x="0" y="9487"/>
                    </a:lnTo>
                    <a:cubicBezTo>
                      <a:pt x="0" y="4269"/>
                      <a:pt x="5026" y="0"/>
                      <a:pt x="11286" y="0"/>
                    </a:cubicBezTo>
                    <a:lnTo>
                      <a:pt x="27029" y="0"/>
                    </a:lnTo>
                    <a:cubicBezTo>
                      <a:pt x="33288" y="0"/>
                      <a:pt x="38314" y="4269"/>
                      <a:pt x="38314" y="9487"/>
                    </a:cubicBezTo>
                    <a:lnTo>
                      <a:pt x="38314" y="59102"/>
                    </a:lnTo>
                    <a:cubicBezTo>
                      <a:pt x="38314" y="64320"/>
                      <a:pt x="33288" y="68589"/>
                      <a:pt x="27029" y="68589"/>
                    </a:cubicBezTo>
                  </a:path>
                </a:pathLst>
              </a:custGeom>
              <a:solidFill>
                <a:srgbClr val="C11B1A"/>
              </a:solidFill>
              <a:ln w="9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84" name="Freihandform 783">
                <a:extLst>
                  <a:ext uri="{FF2B5EF4-FFF2-40B4-BE49-F238E27FC236}">
                    <a16:creationId xmlns:a16="http://schemas.microsoft.com/office/drawing/2014/main" id="{485E5989-C2C6-3B47-8B75-1F2E6D65669F}"/>
                  </a:ext>
                </a:extLst>
              </p:cNvPr>
              <p:cNvSpPr/>
              <p:nvPr/>
            </p:nvSpPr>
            <p:spPr>
              <a:xfrm>
                <a:off x="4143355" y="-601279"/>
                <a:ext cx="14415" cy="25803"/>
              </a:xfrm>
              <a:custGeom>
                <a:avLst/>
                <a:gdLst>
                  <a:gd name="connsiteX0" fmla="*/ 7208 w 14415"/>
                  <a:gd name="connsiteY0" fmla="*/ 25804 h 25803"/>
                  <a:gd name="connsiteX1" fmla="*/ 7208 w 14415"/>
                  <a:gd name="connsiteY1" fmla="*/ 25804 h 25803"/>
                  <a:gd name="connsiteX2" fmla="*/ 0 w 14415"/>
                  <a:gd name="connsiteY2" fmla="*/ 19732 h 25803"/>
                  <a:gd name="connsiteX3" fmla="*/ 0 w 14415"/>
                  <a:gd name="connsiteY3" fmla="*/ 6072 h 25803"/>
                  <a:gd name="connsiteX4" fmla="*/ 7208 w 14415"/>
                  <a:gd name="connsiteY4" fmla="*/ 0 h 25803"/>
                  <a:gd name="connsiteX5" fmla="*/ 14415 w 14415"/>
                  <a:gd name="connsiteY5" fmla="*/ 6072 h 25803"/>
                  <a:gd name="connsiteX6" fmla="*/ 14415 w 14415"/>
                  <a:gd name="connsiteY6" fmla="*/ 19732 h 25803"/>
                  <a:gd name="connsiteX7" fmla="*/ 7208 w 14415"/>
                  <a:gd name="connsiteY7" fmla="*/ 25804 h 25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415" h="25803">
                    <a:moveTo>
                      <a:pt x="7208" y="25804"/>
                    </a:moveTo>
                    <a:lnTo>
                      <a:pt x="7208" y="25804"/>
                    </a:lnTo>
                    <a:cubicBezTo>
                      <a:pt x="3225" y="25804"/>
                      <a:pt x="0" y="23053"/>
                      <a:pt x="0" y="19732"/>
                    </a:cubicBezTo>
                    <a:lnTo>
                      <a:pt x="0" y="6072"/>
                    </a:lnTo>
                    <a:cubicBezTo>
                      <a:pt x="0" y="2751"/>
                      <a:pt x="3225" y="0"/>
                      <a:pt x="7208" y="0"/>
                    </a:cubicBezTo>
                    <a:cubicBezTo>
                      <a:pt x="11191" y="0"/>
                      <a:pt x="14415" y="2751"/>
                      <a:pt x="14415" y="6072"/>
                    </a:cubicBezTo>
                    <a:lnTo>
                      <a:pt x="14415" y="19732"/>
                    </a:lnTo>
                    <a:cubicBezTo>
                      <a:pt x="14415" y="23053"/>
                      <a:pt x="11191" y="25804"/>
                      <a:pt x="7208" y="25804"/>
                    </a:cubicBezTo>
                  </a:path>
                </a:pathLst>
              </a:custGeom>
              <a:solidFill>
                <a:srgbClr val="C11B1A"/>
              </a:solidFill>
              <a:ln w="9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85" name="Freihandform 784">
                <a:extLst>
                  <a:ext uri="{FF2B5EF4-FFF2-40B4-BE49-F238E27FC236}">
                    <a16:creationId xmlns:a16="http://schemas.microsoft.com/office/drawing/2014/main" id="{2EFC0873-2B06-D348-BE23-0CCF29224497}"/>
                  </a:ext>
                </a:extLst>
              </p:cNvPr>
              <p:cNvSpPr/>
              <p:nvPr/>
            </p:nvSpPr>
            <p:spPr>
              <a:xfrm>
                <a:off x="4330090" y="-654405"/>
                <a:ext cx="36322" cy="131960"/>
              </a:xfrm>
              <a:custGeom>
                <a:avLst/>
                <a:gdLst>
                  <a:gd name="connsiteX0" fmla="*/ 10622 w 36322"/>
                  <a:gd name="connsiteY0" fmla="*/ 0 h 131960"/>
                  <a:gd name="connsiteX1" fmla="*/ 25701 w 36322"/>
                  <a:gd name="connsiteY1" fmla="*/ 0 h 131960"/>
                  <a:gd name="connsiteX2" fmla="*/ 36323 w 36322"/>
                  <a:gd name="connsiteY2" fmla="*/ 8918 h 131960"/>
                  <a:gd name="connsiteX3" fmla="*/ 36323 w 36322"/>
                  <a:gd name="connsiteY3" fmla="*/ 123043 h 131960"/>
                  <a:gd name="connsiteX4" fmla="*/ 25701 w 36322"/>
                  <a:gd name="connsiteY4" fmla="*/ 131961 h 131960"/>
                  <a:gd name="connsiteX5" fmla="*/ 10622 w 36322"/>
                  <a:gd name="connsiteY5" fmla="*/ 131961 h 131960"/>
                  <a:gd name="connsiteX6" fmla="*/ 0 w 36322"/>
                  <a:gd name="connsiteY6" fmla="*/ 123043 h 131960"/>
                  <a:gd name="connsiteX7" fmla="*/ 0 w 36322"/>
                  <a:gd name="connsiteY7" fmla="*/ 8918 h 131960"/>
                  <a:gd name="connsiteX8" fmla="*/ 10622 w 36322"/>
                  <a:gd name="connsiteY8" fmla="*/ 0 h 131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322" h="131960">
                    <a:moveTo>
                      <a:pt x="10622" y="0"/>
                    </a:moveTo>
                    <a:lnTo>
                      <a:pt x="25701" y="0"/>
                    </a:lnTo>
                    <a:cubicBezTo>
                      <a:pt x="31581" y="0"/>
                      <a:pt x="36323" y="3984"/>
                      <a:pt x="36323" y="8918"/>
                    </a:cubicBezTo>
                    <a:lnTo>
                      <a:pt x="36323" y="123043"/>
                    </a:lnTo>
                    <a:cubicBezTo>
                      <a:pt x="36323" y="127976"/>
                      <a:pt x="31581" y="131961"/>
                      <a:pt x="25701" y="131961"/>
                    </a:cubicBezTo>
                    <a:lnTo>
                      <a:pt x="10622" y="131961"/>
                    </a:lnTo>
                    <a:cubicBezTo>
                      <a:pt x="4742" y="131961"/>
                      <a:pt x="0" y="127976"/>
                      <a:pt x="0" y="123043"/>
                    </a:cubicBezTo>
                    <a:lnTo>
                      <a:pt x="0" y="8918"/>
                    </a:lnTo>
                    <a:cubicBezTo>
                      <a:pt x="0" y="3984"/>
                      <a:pt x="4742" y="0"/>
                      <a:pt x="10622" y="0"/>
                    </a:cubicBezTo>
                  </a:path>
                </a:pathLst>
              </a:custGeom>
              <a:solidFill>
                <a:srgbClr val="C11B1A"/>
              </a:solidFill>
              <a:ln w="9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86" name="Freihandform 785">
                <a:extLst>
                  <a:ext uri="{FF2B5EF4-FFF2-40B4-BE49-F238E27FC236}">
                    <a16:creationId xmlns:a16="http://schemas.microsoft.com/office/drawing/2014/main" id="{72BAF068-E5DC-1A45-B432-EBDA1C454E49}"/>
                  </a:ext>
                </a:extLst>
              </p:cNvPr>
              <p:cNvSpPr/>
              <p:nvPr/>
            </p:nvSpPr>
            <p:spPr>
              <a:xfrm>
                <a:off x="4345549" y="-622624"/>
                <a:ext cx="38314" cy="68589"/>
              </a:xfrm>
              <a:custGeom>
                <a:avLst/>
                <a:gdLst>
                  <a:gd name="connsiteX0" fmla="*/ 11286 w 38314"/>
                  <a:gd name="connsiteY0" fmla="*/ 0 h 68589"/>
                  <a:gd name="connsiteX1" fmla="*/ 27029 w 38314"/>
                  <a:gd name="connsiteY1" fmla="*/ 0 h 68589"/>
                  <a:gd name="connsiteX2" fmla="*/ 38314 w 38314"/>
                  <a:gd name="connsiteY2" fmla="*/ 9487 h 68589"/>
                  <a:gd name="connsiteX3" fmla="*/ 38314 w 38314"/>
                  <a:gd name="connsiteY3" fmla="*/ 59102 h 68589"/>
                  <a:gd name="connsiteX4" fmla="*/ 27029 w 38314"/>
                  <a:gd name="connsiteY4" fmla="*/ 68589 h 68589"/>
                  <a:gd name="connsiteX5" fmla="*/ 11286 w 38314"/>
                  <a:gd name="connsiteY5" fmla="*/ 68589 h 68589"/>
                  <a:gd name="connsiteX6" fmla="*/ 0 w 38314"/>
                  <a:gd name="connsiteY6" fmla="*/ 59102 h 68589"/>
                  <a:gd name="connsiteX7" fmla="*/ 0 w 38314"/>
                  <a:gd name="connsiteY7" fmla="*/ 9487 h 68589"/>
                  <a:gd name="connsiteX8" fmla="*/ 11286 w 38314"/>
                  <a:gd name="connsiteY8" fmla="*/ 0 h 68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314" h="68589">
                    <a:moveTo>
                      <a:pt x="11286" y="0"/>
                    </a:moveTo>
                    <a:lnTo>
                      <a:pt x="27029" y="0"/>
                    </a:lnTo>
                    <a:cubicBezTo>
                      <a:pt x="33288" y="0"/>
                      <a:pt x="38314" y="4269"/>
                      <a:pt x="38314" y="9487"/>
                    </a:cubicBezTo>
                    <a:lnTo>
                      <a:pt x="38314" y="59102"/>
                    </a:lnTo>
                    <a:cubicBezTo>
                      <a:pt x="38314" y="64320"/>
                      <a:pt x="33288" y="68589"/>
                      <a:pt x="27029" y="68589"/>
                    </a:cubicBezTo>
                    <a:lnTo>
                      <a:pt x="11286" y="68589"/>
                    </a:lnTo>
                    <a:cubicBezTo>
                      <a:pt x="5026" y="68589"/>
                      <a:pt x="0" y="64320"/>
                      <a:pt x="0" y="59102"/>
                    </a:cubicBezTo>
                    <a:lnTo>
                      <a:pt x="0" y="9487"/>
                    </a:lnTo>
                    <a:cubicBezTo>
                      <a:pt x="0" y="4174"/>
                      <a:pt x="5026" y="0"/>
                      <a:pt x="11286" y="0"/>
                    </a:cubicBezTo>
                  </a:path>
                </a:pathLst>
              </a:custGeom>
              <a:solidFill>
                <a:srgbClr val="C11B1A"/>
              </a:solidFill>
              <a:ln w="9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87" name="Freihandform 786">
                <a:extLst>
                  <a:ext uri="{FF2B5EF4-FFF2-40B4-BE49-F238E27FC236}">
                    <a16:creationId xmlns:a16="http://schemas.microsoft.com/office/drawing/2014/main" id="{12C2D487-5CB3-EF40-AA74-7A56A7AE6CBA}"/>
                  </a:ext>
                </a:extLst>
              </p:cNvPr>
              <p:cNvSpPr/>
              <p:nvPr/>
            </p:nvSpPr>
            <p:spPr>
              <a:xfrm>
                <a:off x="4377225" y="-601279"/>
                <a:ext cx="14415" cy="25803"/>
              </a:xfrm>
              <a:custGeom>
                <a:avLst/>
                <a:gdLst>
                  <a:gd name="connsiteX0" fmla="*/ 7208 w 14415"/>
                  <a:gd name="connsiteY0" fmla="*/ 0 h 25803"/>
                  <a:gd name="connsiteX1" fmla="*/ 7208 w 14415"/>
                  <a:gd name="connsiteY1" fmla="*/ 0 h 25803"/>
                  <a:gd name="connsiteX2" fmla="*/ 14415 w 14415"/>
                  <a:gd name="connsiteY2" fmla="*/ 6072 h 25803"/>
                  <a:gd name="connsiteX3" fmla="*/ 14415 w 14415"/>
                  <a:gd name="connsiteY3" fmla="*/ 19732 h 25803"/>
                  <a:gd name="connsiteX4" fmla="*/ 7208 w 14415"/>
                  <a:gd name="connsiteY4" fmla="*/ 25804 h 25803"/>
                  <a:gd name="connsiteX5" fmla="*/ 0 w 14415"/>
                  <a:gd name="connsiteY5" fmla="*/ 19732 h 25803"/>
                  <a:gd name="connsiteX6" fmla="*/ 0 w 14415"/>
                  <a:gd name="connsiteY6" fmla="*/ 6072 h 25803"/>
                  <a:gd name="connsiteX7" fmla="*/ 7208 w 14415"/>
                  <a:gd name="connsiteY7" fmla="*/ 0 h 25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415" h="25803">
                    <a:moveTo>
                      <a:pt x="7208" y="0"/>
                    </a:moveTo>
                    <a:lnTo>
                      <a:pt x="7208" y="0"/>
                    </a:lnTo>
                    <a:cubicBezTo>
                      <a:pt x="11191" y="0"/>
                      <a:pt x="14415" y="2751"/>
                      <a:pt x="14415" y="6072"/>
                    </a:cubicBezTo>
                    <a:lnTo>
                      <a:pt x="14415" y="19732"/>
                    </a:lnTo>
                    <a:cubicBezTo>
                      <a:pt x="14415" y="23053"/>
                      <a:pt x="11191" y="25804"/>
                      <a:pt x="7208" y="25804"/>
                    </a:cubicBezTo>
                    <a:cubicBezTo>
                      <a:pt x="3224" y="25804"/>
                      <a:pt x="0" y="23053"/>
                      <a:pt x="0" y="19732"/>
                    </a:cubicBezTo>
                    <a:lnTo>
                      <a:pt x="0" y="6072"/>
                    </a:lnTo>
                    <a:cubicBezTo>
                      <a:pt x="0" y="2656"/>
                      <a:pt x="3224" y="0"/>
                      <a:pt x="7208" y="0"/>
                    </a:cubicBezTo>
                  </a:path>
                </a:pathLst>
              </a:custGeom>
              <a:solidFill>
                <a:srgbClr val="C11B1A"/>
              </a:solidFill>
              <a:ln w="9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88" name="Freihandform 787">
                <a:extLst>
                  <a:ext uri="{FF2B5EF4-FFF2-40B4-BE49-F238E27FC236}">
                    <a16:creationId xmlns:a16="http://schemas.microsoft.com/office/drawing/2014/main" id="{30471ABE-28AD-F941-9355-D32B6A83F9C6}"/>
                  </a:ext>
                </a:extLst>
              </p:cNvPr>
              <p:cNvSpPr/>
              <p:nvPr/>
            </p:nvSpPr>
            <p:spPr>
              <a:xfrm>
                <a:off x="4197318" y="-603841"/>
                <a:ext cx="155723" cy="30926"/>
              </a:xfrm>
              <a:custGeom>
                <a:avLst/>
                <a:gdLst>
                  <a:gd name="connsiteX0" fmla="*/ 0 w 155723"/>
                  <a:gd name="connsiteY0" fmla="*/ 0 h 30926"/>
                  <a:gd name="connsiteX1" fmla="*/ 155723 w 155723"/>
                  <a:gd name="connsiteY1" fmla="*/ 0 h 30926"/>
                  <a:gd name="connsiteX2" fmla="*/ 155723 w 155723"/>
                  <a:gd name="connsiteY2" fmla="*/ 30927 h 30926"/>
                  <a:gd name="connsiteX3" fmla="*/ 0 w 155723"/>
                  <a:gd name="connsiteY3" fmla="*/ 30927 h 30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5723" h="30926">
                    <a:moveTo>
                      <a:pt x="0" y="0"/>
                    </a:moveTo>
                    <a:lnTo>
                      <a:pt x="155723" y="0"/>
                    </a:lnTo>
                    <a:lnTo>
                      <a:pt x="155723" y="30927"/>
                    </a:lnTo>
                    <a:lnTo>
                      <a:pt x="0" y="30927"/>
                    </a:lnTo>
                    <a:close/>
                  </a:path>
                </a:pathLst>
              </a:custGeom>
              <a:solidFill>
                <a:srgbClr val="C11B1A"/>
              </a:solidFill>
              <a:ln w="9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853" name="Gruppieren 852">
            <a:extLst>
              <a:ext uri="{FF2B5EF4-FFF2-40B4-BE49-F238E27FC236}">
                <a16:creationId xmlns:a16="http://schemas.microsoft.com/office/drawing/2014/main" id="{84DFBAA8-F057-5543-979E-CBD8035C2194}"/>
              </a:ext>
            </a:extLst>
          </p:cNvPr>
          <p:cNvGrpSpPr/>
          <p:nvPr/>
        </p:nvGrpSpPr>
        <p:grpSpPr>
          <a:xfrm>
            <a:off x="4671793" y="1015784"/>
            <a:ext cx="1164639" cy="721723"/>
            <a:chOff x="6413520" y="3136648"/>
            <a:chExt cx="2352438" cy="1457798"/>
          </a:xfrm>
        </p:grpSpPr>
        <p:sp>
          <p:nvSpPr>
            <p:cNvPr id="790" name="Freihandform 789">
              <a:extLst>
                <a:ext uri="{FF2B5EF4-FFF2-40B4-BE49-F238E27FC236}">
                  <a16:creationId xmlns:a16="http://schemas.microsoft.com/office/drawing/2014/main" id="{F909BCCE-32CE-2445-8800-91A2C6DBF51E}"/>
                </a:ext>
              </a:extLst>
            </p:cNvPr>
            <p:cNvSpPr/>
            <p:nvPr/>
          </p:nvSpPr>
          <p:spPr>
            <a:xfrm>
              <a:off x="6413520" y="4375642"/>
              <a:ext cx="744615" cy="25441"/>
            </a:xfrm>
            <a:custGeom>
              <a:avLst/>
              <a:gdLst>
                <a:gd name="connsiteX0" fmla="*/ 0 w 357562"/>
                <a:gd name="connsiteY0" fmla="*/ 4276 h 12217"/>
                <a:gd name="connsiteX1" fmla="*/ 1222 w 357562"/>
                <a:gd name="connsiteY1" fmla="*/ 10812 h 12217"/>
                <a:gd name="connsiteX2" fmla="*/ 357562 w 357562"/>
                <a:gd name="connsiteY2" fmla="*/ 12217 h 12217"/>
                <a:gd name="connsiteX3" fmla="*/ 355057 w 357562"/>
                <a:gd name="connsiteY3" fmla="*/ 0 h 12217"/>
                <a:gd name="connsiteX4" fmla="*/ 0 w 357562"/>
                <a:gd name="connsiteY4" fmla="*/ 4276 h 12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7562" h="12217">
                  <a:moveTo>
                    <a:pt x="0" y="4276"/>
                  </a:moveTo>
                  <a:lnTo>
                    <a:pt x="1222" y="10812"/>
                  </a:lnTo>
                  <a:lnTo>
                    <a:pt x="357562" y="12217"/>
                  </a:lnTo>
                  <a:lnTo>
                    <a:pt x="355057" y="0"/>
                  </a:lnTo>
                  <a:lnTo>
                    <a:pt x="0" y="4276"/>
                  </a:lnTo>
                  <a:close/>
                </a:path>
              </a:pathLst>
            </a:custGeom>
            <a:solidFill>
              <a:srgbClr val="C11B1A"/>
            </a:solidFill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791" name="Grafik 5">
              <a:extLst>
                <a:ext uri="{FF2B5EF4-FFF2-40B4-BE49-F238E27FC236}">
                  <a16:creationId xmlns:a16="http://schemas.microsoft.com/office/drawing/2014/main" id="{C91A635C-CDB6-E846-AEF8-4EDB26D2AF25}"/>
                </a:ext>
              </a:extLst>
            </p:cNvPr>
            <p:cNvGrpSpPr/>
            <p:nvPr/>
          </p:nvGrpSpPr>
          <p:grpSpPr>
            <a:xfrm>
              <a:off x="7375530" y="3765281"/>
              <a:ext cx="329802" cy="351103"/>
              <a:chOff x="-3319987" y="2554099"/>
              <a:chExt cx="158370" cy="168599"/>
            </a:xfrm>
            <a:solidFill>
              <a:srgbClr val="C11B1A"/>
            </a:solidFill>
          </p:grpSpPr>
          <p:sp>
            <p:nvSpPr>
              <p:cNvPr id="825" name="Freihandform 824">
                <a:extLst>
                  <a:ext uri="{FF2B5EF4-FFF2-40B4-BE49-F238E27FC236}">
                    <a16:creationId xmlns:a16="http://schemas.microsoft.com/office/drawing/2014/main" id="{F7ED3999-342E-4744-A960-997DE3893711}"/>
                  </a:ext>
                </a:extLst>
              </p:cNvPr>
              <p:cNvSpPr/>
              <p:nvPr/>
            </p:nvSpPr>
            <p:spPr>
              <a:xfrm>
                <a:off x="-3219712" y="2616279"/>
                <a:ext cx="58096" cy="106419"/>
              </a:xfrm>
              <a:custGeom>
                <a:avLst/>
                <a:gdLst>
                  <a:gd name="connsiteX0" fmla="*/ 57394 w 58096"/>
                  <a:gd name="connsiteY0" fmla="*/ 86138 h 106419"/>
                  <a:gd name="connsiteX1" fmla="*/ 27760 w 58096"/>
                  <a:gd name="connsiteY1" fmla="*/ 617 h 106419"/>
                  <a:gd name="connsiteX2" fmla="*/ 14623 w 58096"/>
                  <a:gd name="connsiteY2" fmla="*/ 1778 h 106419"/>
                  <a:gd name="connsiteX3" fmla="*/ 1303 w 58096"/>
                  <a:gd name="connsiteY3" fmla="*/ 39224 h 106419"/>
                  <a:gd name="connsiteX4" fmla="*/ 4786 w 58096"/>
                  <a:gd name="connsiteY4" fmla="*/ 85467 h 106419"/>
                  <a:gd name="connsiteX5" fmla="*/ 23764 w 58096"/>
                  <a:gd name="connsiteY5" fmla="*/ 106395 h 106419"/>
                  <a:gd name="connsiteX6" fmla="*/ 27454 w 58096"/>
                  <a:gd name="connsiteY6" fmla="*/ 106236 h 106419"/>
                  <a:gd name="connsiteX7" fmla="*/ 40469 w 58096"/>
                  <a:gd name="connsiteY7" fmla="*/ 104464 h 106419"/>
                  <a:gd name="connsiteX8" fmla="*/ 57699 w 58096"/>
                  <a:gd name="connsiteY8" fmla="*/ 86138 h 106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8096" h="106419">
                    <a:moveTo>
                      <a:pt x="57394" y="86138"/>
                    </a:moveTo>
                    <a:cubicBezTo>
                      <a:pt x="59227" y="59505"/>
                      <a:pt x="59838" y="8986"/>
                      <a:pt x="27760" y="617"/>
                    </a:cubicBezTo>
                    <a:cubicBezTo>
                      <a:pt x="23379" y="-501"/>
                      <a:pt x="18741" y="-92"/>
                      <a:pt x="14623" y="1778"/>
                    </a:cubicBezTo>
                    <a:cubicBezTo>
                      <a:pt x="6802" y="5443"/>
                      <a:pt x="-3707" y="14911"/>
                      <a:pt x="1303" y="39224"/>
                    </a:cubicBezTo>
                    <a:cubicBezTo>
                      <a:pt x="4529" y="54410"/>
                      <a:pt x="5703" y="69969"/>
                      <a:pt x="4786" y="85467"/>
                    </a:cubicBezTo>
                    <a:cubicBezTo>
                      <a:pt x="4242" y="96487"/>
                      <a:pt x="12741" y="105857"/>
                      <a:pt x="23764" y="106395"/>
                    </a:cubicBezTo>
                    <a:cubicBezTo>
                      <a:pt x="24998" y="106456"/>
                      <a:pt x="26232" y="106401"/>
                      <a:pt x="27454" y="106236"/>
                    </a:cubicBezTo>
                    <a:lnTo>
                      <a:pt x="40469" y="104464"/>
                    </a:lnTo>
                    <a:cubicBezTo>
                      <a:pt x="49830" y="103212"/>
                      <a:pt x="57027" y="95558"/>
                      <a:pt x="57699" y="86138"/>
                    </a:cubicBezTo>
                  </a:path>
                </a:pathLst>
              </a:custGeom>
              <a:solidFill>
                <a:srgbClr val="C11B1A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6" name="Freihandform 825">
                <a:extLst>
                  <a:ext uri="{FF2B5EF4-FFF2-40B4-BE49-F238E27FC236}">
                    <a16:creationId xmlns:a16="http://schemas.microsoft.com/office/drawing/2014/main" id="{984F6FA6-43B8-CF47-B672-E4C7D35ED7F5}"/>
                  </a:ext>
                </a:extLst>
              </p:cNvPr>
              <p:cNvSpPr/>
              <p:nvPr/>
            </p:nvSpPr>
            <p:spPr>
              <a:xfrm>
                <a:off x="-3251526" y="2554099"/>
                <a:ext cx="61834" cy="61819"/>
              </a:xfrm>
              <a:custGeom>
                <a:avLst/>
                <a:gdLst>
                  <a:gd name="connsiteX0" fmla="*/ 0 w 61834"/>
                  <a:gd name="connsiteY0" fmla="*/ 30910 h 61819"/>
                  <a:gd name="connsiteX1" fmla="*/ 30917 w 61834"/>
                  <a:gd name="connsiteY1" fmla="*/ 61820 h 61819"/>
                  <a:gd name="connsiteX2" fmla="*/ 61834 w 61834"/>
                  <a:gd name="connsiteY2" fmla="*/ 30910 h 61819"/>
                  <a:gd name="connsiteX3" fmla="*/ 30917 w 61834"/>
                  <a:gd name="connsiteY3" fmla="*/ 0 h 61819"/>
                  <a:gd name="connsiteX4" fmla="*/ 0 w 61834"/>
                  <a:gd name="connsiteY4" fmla="*/ 30910 h 61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834" h="61819">
                    <a:moveTo>
                      <a:pt x="0" y="30910"/>
                    </a:moveTo>
                    <a:cubicBezTo>
                      <a:pt x="0" y="47984"/>
                      <a:pt x="13839" y="61820"/>
                      <a:pt x="30917" y="61820"/>
                    </a:cubicBezTo>
                    <a:cubicBezTo>
                      <a:pt x="47995" y="61820"/>
                      <a:pt x="61834" y="47984"/>
                      <a:pt x="61834" y="30910"/>
                    </a:cubicBezTo>
                    <a:cubicBezTo>
                      <a:pt x="61834" y="13836"/>
                      <a:pt x="47995" y="0"/>
                      <a:pt x="30917" y="0"/>
                    </a:cubicBezTo>
                    <a:cubicBezTo>
                      <a:pt x="13839" y="0"/>
                      <a:pt x="0" y="13836"/>
                      <a:pt x="0" y="30910"/>
                    </a:cubicBezTo>
                  </a:path>
                </a:pathLst>
              </a:custGeom>
              <a:solidFill>
                <a:srgbClr val="C11B1A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7" name="Freihandform 826">
                <a:extLst>
                  <a:ext uri="{FF2B5EF4-FFF2-40B4-BE49-F238E27FC236}">
                    <a16:creationId xmlns:a16="http://schemas.microsoft.com/office/drawing/2014/main" id="{104FEA76-886C-BD4E-AE5B-3BB2579A9BA9}"/>
                  </a:ext>
                </a:extLst>
              </p:cNvPr>
              <p:cNvSpPr/>
              <p:nvPr/>
            </p:nvSpPr>
            <p:spPr>
              <a:xfrm>
                <a:off x="-3214804" y="2557164"/>
                <a:ext cx="46448" cy="24301"/>
              </a:xfrm>
              <a:custGeom>
                <a:avLst/>
                <a:gdLst>
                  <a:gd name="connsiteX0" fmla="*/ 0 w 46448"/>
                  <a:gd name="connsiteY0" fmla="*/ 905 h 24301"/>
                  <a:gd name="connsiteX1" fmla="*/ 41426 w 46448"/>
                  <a:gd name="connsiteY1" fmla="*/ 539 h 24301"/>
                  <a:gd name="connsiteX2" fmla="*/ 41426 w 46448"/>
                  <a:gd name="connsiteY2" fmla="*/ 16177 h 24301"/>
                  <a:gd name="connsiteX3" fmla="*/ 2627 w 46448"/>
                  <a:gd name="connsiteY3" fmla="*/ 24302 h 24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448" h="24301">
                    <a:moveTo>
                      <a:pt x="0" y="905"/>
                    </a:moveTo>
                    <a:cubicBezTo>
                      <a:pt x="0" y="905"/>
                      <a:pt x="35133" y="4143"/>
                      <a:pt x="41426" y="539"/>
                    </a:cubicBezTo>
                    <a:cubicBezTo>
                      <a:pt x="47720" y="-3065"/>
                      <a:pt x="48514" y="12451"/>
                      <a:pt x="41426" y="16177"/>
                    </a:cubicBezTo>
                    <a:cubicBezTo>
                      <a:pt x="34339" y="19903"/>
                      <a:pt x="2627" y="24302"/>
                      <a:pt x="2627" y="24302"/>
                    </a:cubicBezTo>
                    <a:close/>
                  </a:path>
                </a:pathLst>
              </a:custGeom>
              <a:solidFill>
                <a:srgbClr val="C11B1A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8" name="Freihandform 827">
                <a:extLst>
                  <a:ext uri="{FF2B5EF4-FFF2-40B4-BE49-F238E27FC236}">
                    <a16:creationId xmlns:a16="http://schemas.microsoft.com/office/drawing/2014/main" id="{F8F76E67-47DB-9546-9EF5-A3E92B363022}"/>
                  </a:ext>
                </a:extLst>
              </p:cNvPr>
              <p:cNvSpPr/>
              <p:nvPr/>
            </p:nvSpPr>
            <p:spPr>
              <a:xfrm>
                <a:off x="-3297341" y="2629562"/>
                <a:ext cx="102487" cy="52289"/>
              </a:xfrm>
              <a:custGeom>
                <a:avLst/>
                <a:gdLst>
                  <a:gd name="connsiteX0" fmla="*/ 82110 w 102487"/>
                  <a:gd name="connsiteY0" fmla="*/ 40 h 52289"/>
                  <a:gd name="connsiteX1" fmla="*/ 18381 w 102487"/>
                  <a:gd name="connsiteY1" fmla="*/ 28506 h 52289"/>
                  <a:gd name="connsiteX2" fmla="*/ 2251 w 102487"/>
                  <a:gd name="connsiteY2" fmla="*/ 42617 h 52289"/>
                  <a:gd name="connsiteX3" fmla="*/ 7994 w 102487"/>
                  <a:gd name="connsiteY3" fmla="*/ 47810 h 52289"/>
                  <a:gd name="connsiteX4" fmla="*/ 83943 w 102487"/>
                  <a:gd name="connsiteY4" fmla="*/ 32233 h 52289"/>
                  <a:gd name="connsiteX5" fmla="*/ 82110 w 102487"/>
                  <a:gd name="connsiteY5" fmla="*/ 40 h 52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2487" h="52289">
                    <a:moveTo>
                      <a:pt x="82110" y="40"/>
                    </a:moveTo>
                    <a:cubicBezTo>
                      <a:pt x="82110" y="2483"/>
                      <a:pt x="48687" y="32844"/>
                      <a:pt x="18381" y="28506"/>
                    </a:cubicBezTo>
                    <a:cubicBezTo>
                      <a:pt x="-4165" y="25269"/>
                      <a:pt x="-927" y="36631"/>
                      <a:pt x="2251" y="42617"/>
                    </a:cubicBezTo>
                    <a:cubicBezTo>
                      <a:pt x="3515" y="44957"/>
                      <a:pt x="5544" y="46790"/>
                      <a:pt x="7994" y="47810"/>
                    </a:cubicBezTo>
                    <a:cubicBezTo>
                      <a:pt x="18259" y="51903"/>
                      <a:pt x="49176" y="60455"/>
                      <a:pt x="83943" y="32233"/>
                    </a:cubicBezTo>
                    <a:cubicBezTo>
                      <a:pt x="126713" y="-2465"/>
                      <a:pt x="82110" y="40"/>
                      <a:pt x="82110" y="40"/>
                    </a:cubicBezTo>
                  </a:path>
                </a:pathLst>
              </a:custGeom>
              <a:solidFill>
                <a:srgbClr val="C11B1A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9" name="Freihandform 828">
                <a:extLst>
                  <a:ext uri="{FF2B5EF4-FFF2-40B4-BE49-F238E27FC236}">
                    <a16:creationId xmlns:a16="http://schemas.microsoft.com/office/drawing/2014/main" id="{680FDB13-DF30-604A-9145-A13679DC5519}"/>
                  </a:ext>
                </a:extLst>
              </p:cNvPr>
              <p:cNvSpPr/>
              <p:nvPr/>
            </p:nvSpPr>
            <p:spPr>
              <a:xfrm>
                <a:off x="-3319987" y="2661971"/>
                <a:ext cx="41417" cy="37518"/>
              </a:xfrm>
              <a:custGeom>
                <a:avLst/>
                <a:gdLst>
                  <a:gd name="connsiteX0" fmla="*/ 17136 w 41417"/>
                  <a:gd name="connsiteY0" fmla="*/ 22792 h 37518"/>
                  <a:gd name="connsiteX1" fmla="*/ 41088 w 41417"/>
                  <a:gd name="connsiteY1" fmla="*/ 37087 h 37518"/>
                  <a:gd name="connsiteX2" fmla="*/ 24407 w 41417"/>
                  <a:gd name="connsiteY2" fmla="*/ 14729 h 37518"/>
                  <a:gd name="connsiteX3" fmla="*/ 456 w 41417"/>
                  <a:gd name="connsiteY3" fmla="*/ 435 h 37518"/>
                  <a:gd name="connsiteX4" fmla="*/ 10843 w 41417"/>
                  <a:gd name="connsiteY4" fmla="*/ 16745 h 37518"/>
                  <a:gd name="connsiteX5" fmla="*/ 16953 w 41417"/>
                  <a:gd name="connsiteY5" fmla="*/ 22854 h 37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1417" h="37518">
                    <a:moveTo>
                      <a:pt x="17136" y="22792"/>
                    </a:moveTo>
                    <a:cubicBezTo>
                      <a:pt x="28379" y="32872"/>
                      <a:pt x="39072" y="39286"/>
                      <a:pt x="41088" y="37087"/>
                    </a:cubicBezTo>
                    <a:cubicBezTo>
                      <a:pt x="43104" y="34888"/>
                      <a:pt x="35650" y="24870"/>
                      <a:pt x="24407" y="14729"/>
                    </a:cubicBezTo>
                    <a:cubicBezTo>
                      <a:pt x="13165" y="4589"/>
                      <a:pt x="2472" y="-1764"/>
                      <a:pt x="456" y="435"/>
                    </a:cubicBezTo>
                    <a:cubicBezTo>
                      <a:pt x="-1560" y="2634"/>
                      <a:pt x="3328" y="8926"/>
                      <a:pt x="10843" y="16745"/>
                    </a:cubicBezTo>
                    <a:cubicBezTo>
                      <a:pt x="12737" y="18700"/>
                      <a:pt x="14876" y="20716"/>
                      <a:pt x="16953" y="22854"/>
                    </a:cubicBezTo>
                  </a:path>
                </a:pathLst>
              </a:custGeom>
              <a:solidFill>
                <a:srgbClr val="C11B1A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792" name="Freihandform 791">
              <a:extLst>
                <a:ext uri="{FF2B5EF4-FFF2-40B4-BE49-F238E27FC236}">
                  <a16:creationId xmlns:a16="http://schemas.microsoft.com/office/drawing/2014/main" id="{EED0C9BD-A7C9-D246-AD43-D6A0E43F46ED}"/>
                </a:ext>
              </a:extLst>
            </p:cNvPr>
            <p:cNvSpPr/>
            <p:nvPr/>
          </p:nvSpPr>
          <p:spPr>
            <a:xfrm>
              <a:off x="7345051" y="4024793"/>
              <a:ext cx="82452" cy="77597"/>
            </a:xfrm>
            <a:custGeom>
              <a:avLst/>
              <a:gdLst>
                <a:gd name="connsiteX0" fmla="*/ 39593 w 39593"/>
                <a:gd name="connsiteY0" fmla="*/ 9407 h 37262"/>
                <a:gd name="connsiteX1" fmla="*/ 11120 w 39593"/>
                <a:gd name="connsiteY1" fmla="*/ 37263 h 37262"/>
                <a:gd name="connsiteX2" fmla="*/ 0 w 39593"/>
                <a:gd name="connsiteY2" fmla="*/ 21197 h 37262"/>
                <a:gd name="connsiteX3" fmla="*/ 25479 w 39593"/>
                <a:gd name="connsiteY3" fmla="*/ 0 h 37262"/>
                <a:gd name="connsiteX4" fmla="*/ 39593 w 39593"/>
                <a:gd name="connsiteY4" fmla="*/ 9407 h 37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93" h="37262">
                  <a:moveTo>
                    <a:pt x="39593" y="9407"/>
                  </a:moveTo>
                  <a:lnTo>
                    <a:pt x="11120" y="37263"/>
                  </a:lnTo>
                  <a:lnTo>
                    <a:pt x="0" y="21197"/>
                  </a:lnTo>
                  <a:lnTo>
                    <a:pt x="25479" y="0"/>
                  </a:lnTo>
                  <a:lnTo>
                    <a:pt x="39593" y="9407"/>
                  </a:lnTo>
                  <a:close/>
                </a:path>
              </a:pathLst>
            </a:custGeom>
            <a:solidFill>
              <a:srgbClr val="C11B1A"/>
            </a:solidFill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793" name="Grafik 5">
              <a:extLst>
                <a:ext uri="{FF2B5EF4-FFF2-40B4-BE49-F238E27FC236}">
                  <a16:creationId xmlns:a16="http://schemas.microsoft.com/office/drawing/2014/main" id="{69D5AE30-486B-C04D-8F49-9A0F06865D47}"/>
                </a:ext>
              </a:extLst>
            </p:cNvPr>
            <p:cNvGrpSpPr/>
            <p:nvPr/>
          </p:nvGrpSpPr>
          <p:grpSpPr>
            <a:xfrm>
              <a:off x="7144011" y="3679795"/>
              <a:ext cx="780876" cy="914651"/>
              <a:chOff x="-3431162" y="2513049"/>
              <a:chExt cx="374975" cy="439213"/>
            </a:xfrm>
            <a:solidFill>
              <a:srgbClr val="C11B1A"/>
            </a:solidFill>
          </p:grpSpPr>
          <p:sp>
            <p:nvSpPr>
              <p:cNvPr id="822" name="Freihandform 821">
                <a:extLst>
                  <a:ext uri="{FF2B5EF4-FFF2-40B4-BE49-F238E27FC236}">
                    <a16:creationId xmlns:a16="http://schemas.microsoft.com/office/drawing/2014/main" id="{4EA15D5B-48FD-E443-A377-EACFEE6D3F45}"/>
                  </a:ext>
                </a:extLst>
              </p:cNvPr>
              <p:cNvSpPr/>
              <p:nvPr/>
            </p:nvSpPr>
            <p:spPr>
              <a:xfrm>
                <a:off x="-3431162" y="2513049"/>
                <a:ext cx="374975" cy="363710"/>
              </a:xfrm>
              <a:custGeom>
                <a:avLst/>
                <a:gdLst>
                  <a:gd name="connsiteX0" fmla="*/ 35866 w 374975"/>
                  <a:gd name="connsiteY0" fmla="*/ 254915 h 363710"/>
                  <a:gd name="connsiteX1" fmla="*/ 35866 w 374975"/>
                  <a:gd name="connsiteY1" fmla="*/ 309343 h 363710"/>
                  <a:gd name="connsiteX2" fmla="*/ 51752 w 374975"/>
                  <a:gd name="connsiteY2" fmla="*/ 308916 h 363710"/>
                  <a:gd name="connsiteX3" fmla="*/ 51752 w 374975"/>
                  <a:gd name="connsiteY3" fmla="*/ 309343 h 363710"/>
                  <a:gd name="connsiteX4" fmla="*/ 51752 w 374975"/>
                  <a:gd name="connsiteY4" fmla="*/ 308916 h 363710"/>
                  <a:gd name="connsiteX5" fmla="*/ 51752 w 374975"/>
                  <a:gd name="connsiteY5" fmla="*/ 215331 h 363710"/>
                  <a:gd name="connsiteX6" fmla="*/ 116153 w 374975"/>
                  <a:gd name="connsiteY6" fmla="*/ 46732 h 363710"/>
                  <a:gd name="connsiteX7" fmla="*/ 184280 w 374975"/>
                  <a:gd name="connsiteY7" fmla="*/ 0 h 363710"/>
                  <a:gd name="connsiteX8" fmla="*/ 253630 w 374975"/>
                  <a:gd name="connsiteY8" fmla="*/ 0 h 363710"/>
                  <a:gd name="connsiteX9" fmla="*/ 300066 w 374975"/>
                  <a:gd name="connsiteY9" fmla="*/ 46426 h 363710"/>
                  <a:gd name="connsiteX10" fmla="*/ 300066 w 374975"/>
                  <a:gd name="connsiteY10" fmla="*/ 223883 h 363710"/>
                  <a:gd name="connsiteX11" fmla="*/ 311248 w 374975"/>
                  <a:gd name="connsiteY11" fmla="*/ 223883 h 363710"/>
                  <a:gd name="connsiteX12" fmla="*/ 354507 w 374975"/>
                  <a:gd name="connsiteY12" fmla="*/ 267193 h 363710"/>
                  <a:gd name="connsiteX13" fmla="*/ 374976 w 374975"/>
                  <a:gd name="connsiteY13" fmla="*/ 287596 h 363710"/>
                  <a:gd name="connsiteX14" fmla="*/ 374976 w 374975"/>
                  <a:gd name="connsiteY14" fmla="*/ 363710 h 363710"/>
                  <a:gd name="connsiteX15" fmla="*/ 350536 w 374975"/>
                  <a:gd name="connsiteY15" fmla="*/ 363710 h 363710"/>
                  <a:gd name="connsiteX16" fmla="*/ 274422 w 374975"/>
                  <a:gd name="connsiteY16" fmla="*/ 347749 h 363710"/>
                  <a:gd name="connsiteX17" fmla="*/ 258457 w 374975"/>
                  <a:gd name="connsiteY17" fmla="*/ 363710 h 363710"/>
                  <a:gd name="connsiteX18" fmla="*/ 136866 w 374975"/>
                  <a:gd name="connsiteY18" fmla="*/ 363710 h 363710"/>
                  <a:gd name="connsiteX19" fmla="*/ 60754 w 374975"/>
                  <a:gd name="connsiteY19" fmla="*/ 347749 h 363710"/>
                  <a:gd name="connsiteX20" fmla="*/ 44787 w 374975"/>
                  <a:gd name="connsiteY20" fmla="*/ 363710 h 363710"/>
                  <a:gd name="connsiteX21" fmla="*/ 14848 w 374975"/>
                  <a:gd name="connsiteY21" fmla="*/ 363710 h 363710"/>
                  <a:gd name="connsiteX22" fmla="*/ 0 w 374975"/>
                  <a:gd name="connsiteY22" fmla="*/ 349477 h 363710"/>
                  <a:gd name="connsiteX23" fmla="*/ 0 w 374975"/>
                  <a:gd name="connsiteY23" fmla="*/ 252960 h 363710"/>
                  <a:gd name="connsiteX24" fmla="*/ 113831 w 374975"/>
                  <a:gd name="connsiteY24" fmla="*/ 200792 h 363710"/>
                  <a:gd name="connsiteX25" fmla="*/ 113831 w 374975"/>
                  <a:gd name="connsiteY25" fmla="*/ 241904 h 363710"/>
                  <a:gd name="connsiteX26" fmla="*/ 124157 w 374975"/>
                  <a:gd name="connsiteY26" fmla="*/ 226754 h 363710"/>
                  <a:gd name="connsiteX27" fmla="*/ 186663 w 374975"/>
                  <a:gd name="connsiteY27" fmla="*/ 193645 h 363710"/>
                  <a:gd name="connsiteX28" fmla="*/ 283386 w 374975"/>
                  <a:gd name="connsiteY28" fmla="*/ 193645 h 363710"/>
                  <a:gd name="connsiteX29" fmla="*/ 281797 w 374975"/>
                  <a:gd name="connsiteY29" fmla="*/ 47648 h 363710"/>
                  <a:gd name="connsiteX30" fmla="*/ 255524 w 374975"/>
                  <a:gd name="connsiteY30" fmla="*/ 21686 h 363710"/>
                  <a:gd name="connsiteX31" fmla="*/ 180003 w 374975"/>
                  <a:gd name="connsiteY31" fmla="*/ 21686 h 363710"/>
                  <a:gd name="connsiteX32" fmla="*/ 139799 w 374975"/>
                  <a:gd name="connsiteY32" fmla="*/ 49358 h 363710"/>
                  <a:gd name="connsiteX33" fmla="*/ 89696 w 374975"/>
                  <a:gd name="connsiteY33" fmla="*/ 181306 h 363710"/>
                  <a:gd name="connsiteX34" fmla="*/ 94340 w 374975"/>
                  <a:gd name="connsiteY34" fmla="*/ 181306 h 363710"/>
                  <a:gd name="connsiteX35" fmla="*/ 113831 w 374975"/>
                  <a:gd name="connsiteY35" fmla="*/ 200792 h 363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374975" h="363710">
                    <a:moveTo>
                      <a:pt x="35866" y="254915"/>
                    </a:moveTo>
                    <a:lnTo>
                      <a:pt x="35866" y="309343"/>
                    </a:lnTo>
                    <a:cubicBezTo>
                      <a:pt x="41142" y="308775"/>
                      <a:pt x="46454" y="308629"/>
                      <a:pt x="51752" y="308916"/>
                    </a:cubicBezTo>
                    <a:cubicBezTo>
                      <a:pt x="51752" y="309221"/>
                      <a:pt x="51752" y="309404"/>
                      <a:pt x="51752" y="309343"/>
                    </a:cubicBezTo>
                    <a:cubicBezTo>
                      <a:pt x="51752" y="309282"/>
                      <a:pt x="51752" y="309343"/>
                      <a:pt x="51752" y="308916"/>
                    </a:cubicBezTo>
                    <a:cubicBezTo>
                      <a:pt x="50530" y="302807"/>
                      <a:pt x="51752" y="215331"/>
                      <a:pt x="51752" y="215331"/>
                    </a:cubicBezTo>
                    <a:lnTo>
                      <a:pt x="116153" y="46732"/>
                    </a:lnTo>
                    <a:cubicBezTo>
                      <a:pt x="126943" y="18516"/>
                      <a:pt x="154066" y="-85"/>
                      <a:pt x="184280" y="0"/>
                    </a:cubicBezTo>
                    <a:lnTo>
                      <a:pt x="253630" y="0"/>
                    </a:lnTo>
                    <a:cubicBezTo>
                      <a:pt x="279274" y="0"/>
                      <a:pt x="300066" y="20788"/>
                      <a:pt x="300066" y="46426"/>
                    </a:cubicBezTo>
                    <a:lnTo>
                      <a:pt x="300066" y="223883"/>
                    </a:lnTo>
                    <a:lnTo>
                      <a:pt x="311248" y="223883"/>
                    </a:lnTo>
                    <a:cubicBezTo>
                      <a:pt x="335150" y="223920"/>
                      <a:pt x="354507" y="243296"/>
                      <a:pt x="354507" y="267193"/>
                    </a:cubicBezTo>
                    <a:cubicBezTo>
                      <a:pt x="365786" y="267193"/>
                      <a:pt x="374939" y="276320"/>
                      <a:pt x="374976" y="287596"/>
                    </a:cubicBezTo>
                    <a:lnTo>
                      <a:pt x="374976" y="363710"/>
                    </a:lnTo>
                    <a:lnTo>
                      <a:pt x="350536" y="363710"/>
                    </a:lnTo>
                    <a:cubicBezTo>
                      <a:pt x="333928" y="338292"/>
                      <a:pt x="299853" y="331145"/>
                      <a:pt x="274422" y="347749"/>
                    </a:cubicBezTo>
                    <a:cubicBezTo>
                      <a:pt x="268056" y="351908"/>
                      <a:pt x="262618" y="357339"/>
                      <a:pt x="258457" y="363710"/>
                    </a:cubicBezTo>
                    <a:lnTo>
                      <a:pt x="136866" y="363710"/>
                    </a:lnTo>
                    <a:cubicBezTo>
                      <a:pt x="120259" y="338292"/>
                      <a:pt x="86183" y="331145"/>
                      <a:pt x="60754" y="347749"/>
                    </a:cubicBezTo>
                    <a:cubicBezTo>
                      <a:pt x="54385" y="351908"/>
                      <a:pt x="48947" y="357339"/>
                      <a:pt x="44787" y="363710"/>
                    </a:cubicBezTo>
                    <a:lnTo>
                      <a:pt x="14848" y="363710"/>
                    </a:lnTo>
                    <a:lnTo>
                      <a:pt x="0" y="349477"/>
                    </a:lnTo>
                    <a:lnTo>
                      <a:pt x="0" y="252960"/>
                    </a:lnTo>
                    <a:close/>
                    <a:moveTo>
                      <a:pt x="113831" y="200792"/>
                    </a:moveTo>
                    <a:lnTo>
                      <a:pt x="113831" y="241904"/>
                    </a:lnTo>
                    <a:lnTo>
                      <a:pt x="124157" y="226754"/>
                    </a:lnTo>
                    <a:cubicBezTo>
                      <a:pt x="138216" y="206040"/>
                      <a:pt x="161624" y="193639"/>
                      <a:pt x="186663" y="193645"/>
                    </a:cubicBezTo>
                    <a:lnTo>
                      <a:pt x="283386" y="193645"/>
                    </a:lnTo>
                    <a:lnTo>
                      <a:pt x="281797" y="47648"/>
                    </a:lnTo>
                    <a:cubicBezTo>
                      <a:pt x="281632" y="33262"/>
                      <a:pt x="269913" y="21686"/>
                      <a:pt x="255524" y="21686"/>
                    </a:cubicBezTo>
                    <a:lnTo>
                      <a:pt x="180003" y="21686"/>
                    </a:lnTo>
                    <a:cubicBezTo>
                      <a:pt x="162137" y="21607"/>
                      <a:pt x="146104" y="32645"/>
                      <a:pt x="139799" y="49358"/>
                    </a:cubicBezTo>
                    <a:lnTo>
                      <a:pt x="89696" y="181306"/>
                    </a:lnTo>
                    <a:lnTo>
                      <a:pt x="94340" y="181306"/>
                    </a:lnTo>
                    <a:cubicBezTo>
                      <a:pt x="105106" y="181306"/>
                      <a:pt x="113831" y="190029"/>
                      <a:pt x="113831" y="200792"/>
                    </a:cubicBezTo>
                  </a:path>
                </a:pathLst>
              </a:custGeom>
              <a:solidFill>
                <a:srgbClr val="C11B1A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3" name="Freihandform 822">
                <a:extLst>
                  <a:ext uri="{FF2B5EF4-FFF2-40B4-BE49-F238E27FC236}">
                    <a16:creationId xmlns:a16="http://schemas.microsoft.com/office/drawing/2014/main" id="{2FFC5D05-43A0-A54B-90EB-25D92C09BC27}"/>
                  </a:ext>
                </a:extLst>
              </p:cNvPr>
              <p:cNvSpPr/>
              <p:nvPr/>
            </p:nvSpPr>
            <p:spPr>
              <a:xfrm>
                <a:off x="-3385703" y="2861243"/>
                <a:ext cx="91040" cy="91019"/>
              </a:xfrm>
              <a:custGeom>
                <a:avLst/>
                <a:gdLst>
                  <a:gd name="connsiteX0" fmla="*/ 45520 w 91040"/>
                  <a:gd name="connsiteY0" fmla="*/ 0 h 91019"/>
                  <a:gd name="connsiteX1" fmla="*/ 91040 w 91040"/>
                  <a:gd name="connsiteY1" fmla="*/ 45510 h 91019"/>
                  <a:gd name="connsiteX2" fmla="*/ 45520 w 91040"/>
                  <a:gd name="connsiteY2" fmla="*/ 91019 h 91019"/>
                  <a:gd name="connsiteX3" fmla="*/ 0 w 91040"/>
                  <a:gd name="connsiteY3" fmla="*/ 45510 h 91019"/>
                  <a:gd name="connsiteX4" fmla="*/ 45520 w 91040"/>
                  <a:gd name="connsiteY4" fmla="*/ 0 h 91019"/>
                  <a:gd name="connsiteX5" fmla="*/ 45520 w 91040"/>
                  <a:gd name="connsiteY5" fmla="*/ 63469 h 91019"/>
                  <a:gd name="connsiteX6" fmla="*/ 63484 w 91040"/>
                  <a:gd name="connsiteY6" fmla="*/ 45510 h 91019"/>
                  <a:gd name="connsiteX7" fmla="*/ 45520 w 91040"/>
                  <a:gd name="connsiteY7" fmla="*/ 27550 h 91019"/>
                  <a:gd name="connsiteX8" fmla="*/ 27557 w 91040"/>
                  <a:gd name="connsiteY8" fmla="*/ 45510 h 91019"/>
                  <a:gd name="connsiteX9" fmla="*/ 45520 w 91040"/>
                  <a:gd name="connsiteY9" fmla="*/ 63469 h 91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1040" h="91019">
                    <a:moveTo>
                      <a:pt x="45520" y="0"/>
                    </a:moveTo>
                    <a:cubicBezTo>
                      <a:pt x="70663" y="0"/>
                      <a:pt x="91040" y="20373"/>
                      <a:pt x="91040" y="45510"/>
                    </a:cubicBezTo>
                    <a:cubicBezTo>
                      <a:pt x="91040" y="70647"/>
                      <a:pt x="70663" y="91019"/>
                      <a:pt x="45520" y="91019"/>
                    </a:cubicBezTo>
                    <a:cubicBezTo>
                      <a:pt x="20380" y="91019"/>
                      <a:pt x="0" y="70647"/>
                      <a:pt x="0" y="45510"/>
                    </a:cubicBezTo>
                    <a:cubicBezTo>
                      <a:pt x="34" y="20391"/>
                      <a:pt x="20394" y="31"/>
                      <a:pt x="45520" y="0"/>
                    </a:cubicBezTo>
                    <a:moveTo>
                      <a:pt x="45520" y="63469"/>
                    </a:moveTo>
                    <a:cubicBezTo>
                      <a:pt x="55443" y="63469"/>
                      <a:pt x="63484" y="55430"/>
                      <a:pt x="63484" y="45510"/>
                    </a:cubicBezTo>
                    <a:cubicBezTo>
                      <a:pt x="63484" y="35589"/>
                      <a:pt x="55443" y="27550"/>
                      <a:pt x="45520" y="27550"/>
                    </a:cubicBezTo>
                    <a:cubicBezTo>
                      <a:pt x="35597" y="27550"/>
                      <a:pt x="27557" y="35589"/>
                      <a:pt x="27557" y="45510"/>
                    </a:cubicBezTo>
                    <a:cubicBezTo>
                      <a:pt x="27557" y="55430"/>
                      <a:pt x="35597" y="63469"/>
                      <a:pt x="45520" y="63469"/>
                    </a:cubicBezTo>
                  </a:path>
                </a:pathLst>
              </a:custGeom>
              <a:solidFill>
                <a:srgbClr val="C11B1A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4" name="Freihandform 823">
                <a:extLst>
                  <a:ext uri="{FF2B5EF4-FFF2-40B4-BE49-F238E27FC236}">
                    <a16:creationId xmlns:a16="http://schemas.microsoft.com/office/drawing/2014/main" id="{457FEB44-6386-EA45-B63E-7929534A8558}"/>
                  </a:ext>
                </a:extLst>
              </p:cNvPr>
              <p:cNvSpPr/>
              <p:nvPr/>
            </p:nvSpPr>
            <p:spPr>
              <a:xfrm>
                <a:off x="-3172034" y="2861243"/>
                <a:ext cx="91040" cy="91019"/>
              </a:xfrm>
              <a:custGeom>
                <a:avLst/>
                <a:gdLst>
                  <a:gd name="connsiteX0" fmla="*/ 45520 w 91040"/>
                  <a:gd name="connsiteY0" fmla="*/ 0 h 91019"/>
                  <a:gd name="connsiteX1" fmla="*/ 91040 w 91040"/>
                  <a:gd name="connsiteY1" fmla="*/ 45510 h 91019"/>
                  <a:gd name="connsiteX2" fmla="*/ 45520 w 91040"/>
                  <a:gd name="connsiteY2" fmla="*/ 91019 h 91019"/>
                  <a:gd name="connsiteX3" fmla="*/ 0 w 91040"/>
                  <a:gd name="connsiteY3" fmla="*/ 45510 h 91019"/>
                  <a:gd name="connsiteX4" fmla="*/ 45520 w 91040"/>
                  <a:gd name="connsiteY4" fmla="*/ 0 h 91019"/>
                  <a:gd name="connsiteX5" fmla="*/ 45520 w 91040"/>
                  <a:gd name="connsiteY5" fmla="*/ 63469 h 91019"/>
                  <a:gd name="connsiteX6" fmla="*/ 63484 w 91040"/>
                  <a:gd name="connsiteY6" fmla="*/ 45510 h 91019"/>
                  <a:gd name="connsiteX7" fmla="*/ 45520 w 91040"/>
                  <a:gd name="connsiteY7" fmla="*/ 27550 h 91019"/>
                  <a:gd name="connsiteX8" fmla="*/ 27557 w 91040"/>
                  <a:gd name="connsiteY8" fmla="*/ 45510 h 91019"/>
                  <a:gd name="connsiteX9" fmla="*/ 45520 w 91040"/>
                  <a:gd name="connsiteY9" fmla="*/ 63469 h 91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1040" h="91019">
                    <a:moveTo>
                      <a:pt x="45520" y="0"/>
                    </a:moveTo>
                    <a:cubicBezTo>
                      <a:pt x="70663" y="0"/>
                      <a:pt x="91040" y="20373"/>
                      <a:pt x="91040" y="45510"/>
                    </a:cubicBezTo>
                    <a:cubicBezTo>
                      <a:pt x="91040" y="70647"/>
                      <a:pt x="70663" y="91019"/>
                      <a:pt x="45520" y="91019"/>
                    </a:cubicBezTo>
                    <a:cubicBezTo>
                      <a:pt x="20377" y="91019"/>
                      <a:pt x="0" y="70647"/>
                      <a:pt x="0" y="45510"/>
                    </a:cubicBezTo>
                    <a:cubicBezTo>
                      <a:pt x="37" y="20391"/>
                      <a:pt x="20396" y="31"/>
                      <a:pt x="45520" y="0"/>
                    </a:cubicBezTo>
                    <a:moveTo>
                      <a:pt x="45520" y="63469"/>
                    </a:moveTo>
                    <a:cubicBezTo>
                      <a:pt x="55443" y="63469"/>
                      <a:pt x="63484" y="55430"/>
                      <a:pt x="63484" y="45510"/>
                    </a:cubicBezTo>
                    <a:cubicBezTo>
                      <a:pt x="63484" y="35589"/>
                      <a:pt x="55443" y="27550"/>
                      <a:pt x="45520" y="27550"/>
                    </a:cubicBezTo>
                    <a:cubicBezTo>
                      <a:pt x="35597" y="27550"/>
                      <a:pt x="27557" y="35589"/>
                      <a:pt x="27557" y="45510"/>
                    </a:cubicBezTo>
                    <a:cubicBezTo>
                      <a:pt x="27557" y="55430"/>
                      <a:pt x="35597" y="63469"/>
                      <a:pt x="45520" y="63469"/>
                    </a:cubicBezTo>
                  </a:path>
                </a:pathLst>
              </a:custGeom>
              <a:solidFill>
                <a:srgbClr val="C11B1A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794" name="Gruppieren 793">
              <a:extLst>
                <a:ext uri="{FF2B5EF4-FFF2-40B4-BE49-F238E27FC236}">
                  <a16:creationId xmlns:a16="http://schemas.microsoft.com/office/drawing/2014/main" id="{0EECAC01-6E28-F441-A20E-D0CEF729E58B}"/>
                </a:ext>
              </a:extLst>
            </p:cNvPr>
            <p:cNvGrpSpPr/>
            <p:nvPr/>
          </p:nvGrpSpPr>
          <p:grpSpPr>
            <a:xfrm>
              <a:off x="8118823" y="3136648"/>
              <a:ext cx="534161" cy="502441"/>
              <a:chOff x="2469954" y="2781147"/>
              <a:chExt cx="670692" cy="630864"/>
            </a:xfrm>
          </p:grpSpPr>
          <p:sp>
            <p:nvSpPr>
              <p:cNvPr id="809" name="Freihandform 808">
                <a:extLst>
                  <a:ext uri="{FF2B5EF4-FFF2-40B4-BE49-F238E27FC236}">
                    <a16:creationId xmlns:a16="http://schemas.microsoft.com/office/drawing/2014/main" id="{2C06CABE-4224-2042-AE7C-E89267409167}"/>
                  </a:ext>
                </a:extLst>
              </p:cNvPr>
              <p:cNvSpPr/>
              <p:nvPr/>
            </p:nvSpPr>
            <p:spPr>
              <a:xfrm>
                <a:off x="2469954" y="3253777"/>
                <a:ext cx="162159" cy="24916"/>
              </a:xfrm>
              <a:custGeom>
                <a:avLst/>
                <a:gdLst>
                  <a:gd name="connsiteX0" fmla="*/ 0 w 62017"/>
                  <a:gd name="connsiteY0" fmla="*/ 3360 h 9529"/>
                  <a:gd name="connsiteX1" fmla="*/ 244 w 62017"/>
                  <a:gd name="connsiteY1" fmla="*/ 8430 h 9529"/>
                  <a:gd name="connsiteX2" fmla="*/ 62017 w 62017"/>
                  <a:gd name="connsiteY2" fmla="*/ 9530 h 9529"/>
                  <a:gd name="connsiteX3" fmla="*/ 61529 w 62017"/>
                  <a:gd name="connsiteY3" fmla="*/ 0 h 9529"/>
                  <a:gd name="connsiteX4" fmla="*/ 0 w 62017"/>
                  <a:gd name="connsiteY4" fmla="*/ 3360 h 9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017" h="9529">
                    <a:moveTo>
                      <a:pt x="0" y="3360"/>
                    </a:moveTo>
                    <a:lnTo>
                      <a:pt x="244" y="8430"/>
                    </a:lnTo>
                    <a:lnTo>
                      <a:pt x="62017" y="9530"/>
                    </a:lnTo>
                    <a:lnTo>
                      <a:pt x="61529" y="0"/>
                    </a:lnTo>
                    <a:lnTo>
                      <a:pt x="0" y="3360"/>
                    </a:lnTo>
                    <a:close/>
                  </a:path>
                </a:pathLst>
              </a:custGeom>
              <a:solidFill>
                <a:srgbClr val="C11B1A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810" name="Gruppieren 809">
                <a:extLst>
                  <a:ext uri="{FF2B5EF4-FFF2-40B4-BE49-F238E27FC236}">
                    <a16:creationId xmlns:a16="http://schemas.microsoft.com/office/drawing/2014/main" id="{F772CE81-3077-0B4F-9A83-E196146BB1F7}"/>
                  </a:ext>
                </a:extLst>
              </p:cNvPr>
              <p:cNvGrpSpPr/>
              <p:nvPr/>
            </p:nvGrpSpPr>
            <p:grpSpPr>
              <a:xfrm>
                <a:off x="2622687" y="2781147"/>
                <a:ext cx="517959" cy="630864"/>
                <a:chOff x="2622687" y="2781147"/>
                <a:chExt cx="517959" cy="630864"/>
              </a:xfrm>
            </p:grpSpPr>
            <p:grpSp>
              <p:nvGrpSpPr>
                <p:cNvPr id="811" name="Grafik 5">
                  <a:extLst>
                    <a:ext uri="{FF2B5EF4-FFF2-40B4-BE49-F238E27FC236}">
                      <a16:creationId xmlns:a16="http://schemas.microsoft.com/office/drawing/2014/main" id="{2887214C-1DCD-934C-A0F6-BD57E2F615E1}"/>
                    </a:ext>
                  </a:extLst>
                </p:cNvPr>
                <p:cNvGrpSpPr/>
                <p:nvPr/>
              </p:nvGrpSpPr>
              <p:grpSpPr>
                <a:xfrm>
                  <a:off x="2775925" y="2839927"/>
                  <a:ext cx="217529" cy="242179"/>
                  <a:chOff x="-2846601" y="2274811"/>
                  <a:chExt cx="83193" cy="92620"/>
                </a:xfrm>
                <a:solidFill>
                  <a:srgbClr val="C11B1A"/>
                </a:solidFill>
              </p:grpSpPr>
              <p:sp>
                <p:nvSpPr>
                  <p:cNvPr id="817" name="Freihandform 816">
                    <a:extLst>
                      <a:ext uri="{FF2B5EF4-FFF2-40B4-BE49-F238E27FC236}">
                        <a16:creationId xmlns:a16="http://schemas.microsoft.com/office/drawing/2014/main" id="{0A3022CD-A6B7-564C-BDB1-DC84B7E5922D}"/>
                      </a:ext>
                    </a:extLst>
                  </p:cNvPr>
                  <p:cNvSpPr/>
                  <p:nvPr/>
                </p:nvSpPr>
                <p:spPr>
                  <a:xfrm>
                    <a:off x="-2794082" y="2308871"/>
                    <a:ext cx="30674" cy="58560"/>
                  </a:xfrm>
                  <a:custGeom>
                    <a:avLst/>
                    <a:gdLst>
                      <a:gd name="connsiteX0" fmla="*/ 30324 w 30674"/>
                      <a:gd name="connsiteY0" fmla="*/ 47368 h 58560"/>
                      <a:gd name="connsiteX1" fmla="*/ 14682 w 30674"/>
                      <a:gd name="connsiteY1" fmla="*/ 332 h 58560"/>
                      <a:gd name="connsiteX2" fmla="*/ 7778 w 30674"/>
                      <a:gd name="connsiteY2" fmla="*/ 1004 h 58560"/>
                      <a:gd name="connsiteX3" fmla="*/ 751 w 30674"/>
                      <a:gd name="connsiteY3" fmla="*/ 21590 h 58560"/>
                      <a:gd name="connsiteX4" fmla="*/ 2584 w 30674"/>
                      <a:gd name="connsiteY4" fmla="*/ 47063 h 58560"/>
                      <a:gd name="connsiteX5" fmla="*/ 12440 w 30674"/>
                      <a:gd name="connsiteY5" fmla="*/ 58529 h 58560"/>
                      <a:gd name="connsiteX6" fmla="*/ 14499 w 30674"/>
                      <a:gd name="connsiteY6" fmla="*/ 58486 h 58560"/>
                      <a:gd name="connsiteX7" fmla="*/ 21220 w 30674"/>
                      <a:gd name="connsiteY7" fmla="*/ 57509 h 58560"/>
                      <a:gd name="connsiteX8" fmla="*/ 30324 w 30674"/>
                      <a:gd name="connsiteY8" fmla="*/ 47368 h 585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0674" h="58560">
                        <a:moveTo>
                          <a:pt x="30324" y="47368"/>
                        </a:moveTo>
                        <a:cubicBezTo>
                          <a:pt x="31241" y="32769"/>
                          <a:pt x="31607" y="4913"/>
                          <a:pt x="14682" y="332"/>
                        </a:cubicBezTo>
                        <a:cubicBezTo>
                          <a:pt x="12373" y="-279"/>
                          <a:pt x="9923" y="-41"/>
                          <a:pt x="7778" y="1004"/>
                        </a:cubicBezTo>
                        <a:cubicBezTo>
                          <a:pt x="3623" y="2958"/>
                          <a:pt x="-2059" y="8212"/>
                          <a:pt x="751" y="21590"/>
                        </a:cubicBezTo>
                        <a:cubicBezTo>
                          <a:pt x="2438" y="29971"/>
                          <a:pt x="3055" y="38529"/>
                          <a:pt x="2584" y="47063"/>
                        </a:cubicBezTo>
                        <a:cubicBezTo>
                          <a:pt x="2138" y="52952"/>
                          <a:pt x="6550" y="58083"/>
                          <a:pt x="12440" y="58529"/>
                        </a:cubicBezTo>
                        <a:cubicBezTo>
                          <a:pt x="13124" y="58584"/>
                          <a:pt x="13815" y="58566"/>
                          <a:pt x="14499" y="58486"/>
                        </a:cubicBezTo>
                        <a:lnTo>
                          <a:pt x="21220" y="57509"/>
                        </a:lnTo>
                        <a:cubicBezTo>
                          <a:pt x="26285" y="56727"/>
                          <a:pt x="30092" y="52487"/>
                          <a:pt x="30324" y="47368"/>
                        </a:cubicBezTo>
                      </a:path>
                    </a:pathLst>
                  </a:custGeom>
                  <a:solidFill>
                    <a:srgbClr val="C11B1A"/>
                  </a:solidFill>
                  <a:ln w="609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18" name="Freihandform 817">
                    <a:extLst>
                      <a:ext uri="{FF2B5EF4-FFF2-40B4-BE49-F238E27FC236}">
                        <a16:creationId xmlns:a16="http://schemas.microsoft.com/office/drawing/2014/main" id="{D531C25F-6A58-0848-B427-3421200A245F}"/>
                      </a:ext>
                    </a:extLst>
                  </p:cNvPr>
                  <p:cNvSpPr/>
                  <p:nvPr/>
                </p:nvSpPr>
                <p:spPr>
                  <a:xfrm>
                    <a:off x="-2810625" y="2274811"/>
                    <a:ext cx="32683" cy="32617"/>
                  </a:xfrm>
                  <a:custGeom>
                    <a:avLst/>
                    <a:gdLst>
                      <a:gd name="connsiteX0" fmla="*/ 64 w 32683"/>
                      <a:gd name="connsiteY0" fmla="*/ 16860 h 32617"/>
                      <a:gd name="connsiteX1" fmla="*/ 16916 w 32683"/>
                      <a:gd name="connsiteY1" fmla="*/ 32608 h 32617"/>
                      <a:gd name="connsiteX2" fmla="*/ 32674 w 32683"/>
                      <a:gd name="connsiteY2" fmla="*/ 15760 h 32617"/>
                      <a:gd name="connsiteX3" fmla="*/ 16317 w 32683"/>
                      <a:gd name="connsiteY3" fmla="*/ 0 h 32617"/>
                      <a:gd name="connsiteX4" fmla="*/ 3 w 32683"/>
                      <a:gd name="connsiteY4" fmla="*/ 16915 h 32617"/>
                      <a:gd name="connsiteX5" fmla="*/ 3 w 32683"/>
                      <a:gd name="connsiteY5" fmla="*/ 17043 h 326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32683" h="32617">
                        <a:moveTo>
                          <a:pt x="64" y="16860"/>
                        </a:moveTo>
                        <a:cubicBezTo>
                          <a:pt x="370" y="25864"/>
                          <a:pt x="7915" y="32914"/>
                          <a:pt x="16916" y="32608"/>
                        </a:cubicBezTo>
                        <a:cubicBezTo>
                          <a:pt x="25922" y="32309"/>
                          <a:pt x="32979" y="24765"/>
                          <a:pt x="32674" y="15760"/>
                        </a:cubicBezTo>
                        <a:cubicBezTo>
                          <a:pt x="32374" y="6952"/>
                          <a:pt x="25134" y="-30"/>
                          <a:pt x="16317" y="0"/>
                        </a:cubicBezTo>
                        <a:cubicBezTo>
                          <a:pt x="7140" y="165"/>
                          <a:pt x="-168" y="7740"/>
                          <a:pt x="3" y="16915"/>
                        </a:cubicBezTo>
                        <a:cubicBezTo>
                          <a:pt x="3" y="16958"/>
                          <a:pt x="3" y="17000"/>
                          <a:pt x="3" y="17043"/>
                        </a:cubicBezTo>
                      </a:path>
                    </a:pathLst>
                  </a:custGeom>
                  <a:solidFill>
                    <a:srgbClr val="C11B1A"/>
                  </a:solidFill>
                  <a:ln w="609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19" name="Freihandform 818">
                    <a:extLst>
                      <a:ext uri="{FF2B5EF4-FFF2-40B4-BE49-F238E27FC236}">
                        <a16:creationId xmlns:a16="http://schemas.microsoft.com/office/drawing/2014/main" id="{86797C2D-0979-6B43-AA38-DBD2F7FAB2C1}"/>
                      </a:ext>
                    </a:extLst>
                  </p:cNvPr>
                  <p:cNvSpPr/>
                  <p:nvPr/>
                </p:nvSpPr>
                <p:spPr>
                  <a:xfrm>
                    <a:off x="-2791192" y="2276582"/>
                    <a:ext cx="24517" cy="13317"/>
                  </a:xfrm>
                  <a:custGeom>
                    <a:avLst/>
                    <a:gdLst>
                      <a:gd name="connsiteX0" fmla="*/ 0 w 24517"/>
                      <a:gd name="connsiteY0" fmla="*/ 244 h 13317"/>
                      <a:gd name="connsiteX1" fmla="*/ 21813 w 24517"/>
                      <a:gd name="connsiteY1" fmla="*/ 244 h 13317"/>
                      <a:gd name="connsiteX2" fmla="*/ 21813 w 24517"/>
                      <a:gd name="connsiteY2" fmla="*/ 8919 h 13317"/>
                      <a:gd name="connsiteX3" fmla="*/ 1405 w 24517"/>
                      <a:gd name="connsiteY3" fmla="*/ 13317 h 133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4517" h="13317">
                        <a:moveTo>
                          <a:pt x="0" y="244"/>
                        </a:moveTo>
                        <a:cubicBezTo>
                          <a:pt x="0" y="244"/>
                          <a:pt x="18330" y="2016"/>
                          <a:pt x="21813" y="244"/>
                        </a:cubicBezTo>
                        <a:cubicBezTo>
                          <a:pt x="25296" y="-1527"/>
                          <a:pt x="25540" y="6842"/>
                          <a:pt x="21813" y="8919"/>
                        </a:cubicBezTo>
                        <a:cubicBezTo>
                          <a:pt x="15153" y="10984"/>
                          <a:pt x="8322" y="12456"/>
                          <a:pt x="1405" y="13317"/>
                        </a:cubicBezTo>
                        <a:close/>
                      </a:path>
                    </a:pathLst>
                  </a:custGeom>
                  <a:solidFill>
                    <a:srgbClr val="C11B1A"/>
                  </a:solidFill>
                  <a:ln w="609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20" name="Freihandform 819">
                    <a:extLst>
                      <a:ext uri="{FF2B5EF4-FFF2-40B4-BE49-F238E27FC236}">
                        <a16:creationId xmlns:a16="http://schemas.microsoft.com/office/drawing/2014/main" id="{B615CA35-2C31-5841-B3EE-F9F4EB77DEC0}"/>
                      </a:ext>
                    </a:extLst>
                  </p:cNvPr>
                  <p:cNvSpPr/>
                  <p:nvPr/>
                </p:nvSpPr>
                <p:spPr>
                  <a:xfrm>
                    <a:off x="-2834689" y="2316146"/>
                    <a:ext cx="53976" cy="28760"/>
                  </a:xfrm>
                  <a:custGeom>
                    <a:avLst/>
                    <a:gdLst>
                      <a:gd name="connsiteX0" fmla="*/ 43253 w 53976"/>
                      <a:gd name="connsiteY0" fmla="*/ 21 h 28760"/>
                      <a:gd name="connsiteX1" fmla="*/ 9647 w 53976"/>
                      <a:gd name="connsiteY1" fmla="*/ 15659 h 28760"/>
                      <a:gd name="connsiteX2" fmla="*/ 1215 w 53976"/>
                      <a:gd name="connsiteY2" fmla="*/ 23478 h 28760"/>
                      <a:gd name="connsiteX3" fmla="*/ 4209 w 53976"/>
                      <a:gd name="connsiteY3" fmla="*/ 26288 h 28760"/>
                      <a:gd name="connsiteX4" fmla="*/ 44230 w 53976"/>
                      <a:gd name="connsiteY4" fmla="*/ 17736 h 28760"/>
                      <a:gd name="connsiteX5" fmla="*/ 43253 w 53976"/>
                      <a:gd name="connsiteY5" fmla="*/ 21 h 287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3976" h="28760">
                        <a:moveTo>
                          <a:pt x="43253" y="21"/>
                        </a:moveTo>
                        <a:cubicBezTo>
                          <a:pt x="43253" y="1364"/>
                          <a:pt x="25656" y="18347"/>
                          <a:pt x="9647" y="15659"/>
                        </a:cubicBezTo>
                        <a:cubicBezTo>
                          <a:pt x="-2206" y="13887"/>
                          <a:pt x="-496" y="20179"/>
                          <a:pt x="1215" y="23478"/>
                        </a:cubicBezTo>
                        <a:cubicBezTo>
                          <a:pt x="1857" y="24730"/>
                          <a:pt x="2914" y="25726"/>
                          <a:pt x="4209" y="26288"/>
                        </a:cubicBezTo>
                        <a:cubicBezTo>
                          <a:pt x="9647" y="28548"/>
                          <a:pt x="25900" y="33252"/>
                          <a:pt x="44230" y="17736"/>
                        </a:cubicBezTo>
                        <a:cubicBezTo>
                          <a:pt x="66715" y="-1323"/>
                          <a:pt x="43253" y="21"/>
                          <a:pt x="43253" y="21"/>
                        </a:cubicBezTo>
                      </a:path>
                    </a:pathLst>
                  </a:custGeom>
                  <a:solidFill>
                    <a:srgbClr val="C11B1A"/>
                  </a:solidFill>
                  <a:ln w="609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21" name="Freihandform 820">
                    <a:extLst>
                      <a:ext uri="{FF2B5EF4-FFF2-40B4-BE49-F238E27FC236}">
                        <a16:creationId xmlns:a16="http://schemas.microsoft.com/office/drawing/2014/main" id="{1885E8A6-5FCA-574B-802C-025F32D4C305}"/>
                      </a:ext>
                    </a:extLst>
                  </p:cNvPr>
                  <p:cNvSpPr/>
                  <p:nvPr/>
                </p:nvSpPr>
                <p:spPr>
                  <a:xfrm>
                    <a:off x="-2846601" y="2334071"/>
                    <a:ext cx="21787" cy="20576"/>
                  </a:xfrm>
                  <a:custGeom>
                    <a:avLst/>
                    <a:gdLst>
                      <a:gd name="connsiteX0" fmla="*/ 9034 w 21787"/>
                      <a:gd name="connsiteY0" fmla="*/ 12456 h 20576"/>
                      <a:gd name="connsiteX1" fmla="*/ 21621 w 21787"/>
                      <a:gd name="connsiteY1" fmla="*/ 20336 h 20576"/>
                      <a:gd name="connsiteX2" fmla="*/ 12822 w 21787"/>
                      <a:gd name="connsiteY2" fmla="*/ 8118 h 20576"/>
                      <a:gd name="connsiteX3" fmla="*/ 235 w 21787"/>
                      <a:gd name="connsiteY3" fmla="*/ 238 h 20576"/>
                      <a:gd name="connsiteX4" fmla="*/ 5673 w 21787"/>
                      <a:gd name="connsiteY4" fmla="*/ 9157 h 20576"/>
                      <a:gd name="connsiteX5" fmla="*/ 9034 w 21787"/>
                      <a:gd name="connsiteY5" fmla="*/ 12517 h 205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1787" h="20576">
                        <a:moveTo>
                          <a:pt x="9034" y="12456"/>
                        </a:moveTo>
                        <a:cubicBezTo>
                          <a:pt x="15144" y="18015"/>
                          <a:pt x="20582" y="21558"/>
                          <a:pt x="21621" y="20336"/>
                        </a:cubicBezTo>
                        <a:cubicBezTo>
                          <a:pt x="22659" y="19114"/>
                          <a:pt x="18749" y="13616"/>
                          <a:pt x="12822" y="8118"/>
                        </a:cubicBezTo>
                        <a:cubicBezTo>
                          <a:pt x="6895" y="2621"/>
                          <a:pt x="1274" y="-983"/>
                          <a:pt x="235" y="238"/>
                        </a:cubicBezTo>
                        <a:cubicBezTo>
                          <a:pt x="-803" y="1460"/>
                          <a:pt x="1702" y="4881"/>
                          <a:pt x="5673" y="9157"/>
                        </a:cubicBezTo>
                        <a:cubicBezTo>
                          <a:pt x="6712" y="10257"/>
                          <a:pt x="7812" y="11417"/>
                          <a:pt x="9034" y="12517"/>
                        </a:cubicBezTo>
                      </a:path>
                    </a:pathLst>
                  </a:custGeom>
                  <a:solidFill>
                    <a:srgbClr val="C11B1A"/>
                  </a:solidFill>
                  <a:ln w="609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  <p:sp>
              <p:nvSpPr>
                <p:cNvPr id="812" name="Freihandform 811">
                  <a:extLst>
                    <a:ext uri="{FF2B5EF4-FFF2-40B4-BE49-F238E27FC236}">
                      <a16:creationId xmlns:a16="http://schemas.microsoft.com/office/drawing/2014/main" id="{291F9F7D-3EE9-A442-8F0A-D0F80985B450}"/>
                    </a:ext>
                  </a:extLst>
                </p:cNvPr>
                <p:cNvSpPr/>
                <p:nvPr/>
              </p:nvSpPr>
              <p:spPr>
                <a:xfrm>
                  <a:off x="2755770" y="3018661"/>
                  <a:ext cx="54478" cy="53668"/>
                </a:xfrm>
                <a:custGeom>
                  <a:avLst/>
                  <a:gdLst>
                    <a:gd name="connsiteX0" fmla="*/ 20835 w 20835"/>
                    <a:gd name="connsiteY0" fmla="*/ 5253 h 20525"/>
                    <a:gd name="connsiteX1" fmla="*/ 5805 w 20835"/>
                    <a:gd name="connsiteY1" fmla="*/ 20525 h 20525"/>
                    <a:gd name="connsiteX2" fmla="*/ 0 w 20835"/>
                    <a:gd name="connsiteY2" fmla="*/ 11668 h 20525"/>
                    <a:gd name="connsiteX3" fmla="*/ 13381 w 20835"/>
                    <a:gd name="connsiteY3" fmla="*/ 0 h 20525"/>
                    <a:gd name="connsiteX4" fmla="*/ 20835 w 20835"/>
                    <a:gd name="connsiteY4" fmla="*/ 5253 h 20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0835" h="20525">
                      <a:moveTo>
                        <a:pt x="20835" y="5253"/>
                      </a:moveTo>
                      <a:lnTo>
                        <a:pt x="5805" y="20525"/>
                      </a:lnTo>
                      <a:lnTo>
                        <a:pt x="0" y="11668"/>
                      </a:lnTo>
                      <a:lnTo>
                        <a:pt x="13381" y="0"/>
                      </a:lnTo>
                      <a:lnTo>
                        <a:pt x="20835" y="5253"/>
                      </a:lnTo>
                      <a:close/>
                    </a:path>
                  </a:pathLst>
                </a:custGeom>
                <a:solidFill>
                  <a:srgbClr val="C11B1A"/>
                </a:solidFill>
                <a:ln w="609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grpSp>
              <p:nvGrpSpPr>
                <p:cNvPr id="813" name="Grafik 5">
                  <a:extLst>
                    <a:ext uri="{FF2B5EF4-FFF2-40B4-BE49-F238E27FC236}">
                      <a16:creationId xmlns:a16="http://schemas.microsoft.com/office/drawing/2014/main" id="{66F33EE9-24AE-FE4B-AD24-EEF0604247BA}"/>
                    </a:ext>
                  </a:extLst>
                </p:cNvPr>
                <p:cNvGrpSpPr/>
                <p:nvPr/>
              </p:nvGrpSpPr>
              <p:grpSpPr>
                <a:xfrm>
                  <a:off x="2622687" y="2781147"/>
                  <a:ext cx="517959" cy="630864"/>
                  <a:chOff x="-2905206" y="2252331"/>
                  <a:chExt cx="198091" cy="241271"/>
                </a:xfrm>
                <a:solidFill>
                  <a:srgbClr val="C11B1A"/>
                </a:solidFill>
              </p:grpSpPr>
              <p:sp>
                <p:nvSpPr>
                  <p:cNvPr id="814" name="Freihandform 813">
                    <a:extLst>
                      <a:ext uri="{FF2B5EF4-FFF2-40B4-BE49-F238E27FC236}">
                        <a16:creationId xmlns:a16="http://schemas.microsoft.com/office/drawing/2014/main" id="{7E90F312-3E18-8440-8931-2FC5A84E588D}"/>
                      </a:ext>
                    </a:extLst>
                  </p:cNvPr>
                  <p:cNvSpPr/>
                  <p:nvPr/>
                </p:nvSpPr>
                <p:spPr>
                  <a:xfrm>
                    <a:off x="-2905206" y="2252331"/>
                    <a:ext cx="198091" cy="199631"/>
                  </a:xfrm>
                  <a:custGeom>
                    <a:avLst/>
                    <a:gdLst>
                      <a:gd name="connsiteX0" fmla="*/ 19247 w 198091"/>
                      <a:gd name="connsiteY0" fmla="*/ 139950 h 199631"/>
                      <a:gd name="connsiteX1" fmla="*/ 19247 w 198091"/>
                      <a:gd name="connsiteY1" fmla="*/ 169943 h 199631"/>
                      <a:gd name="connsiteX2" fmla="*/ 27618 w 198091"/>
                      <a:gd name="connsiteY2" fmla="*/ 169943 h 199631"/>
                      <a:gd name="connsiteX3" fmla="*/ 27618 w 198091"/>
                      <a:gd name="connsiteY3" fmla="*/ 118447 h 199631"/>
                      <a:gd name="connsiteX4" fmla="*/ 61590 w 198091"/>
                      <a:gd name="connsiteY4" fmla="*/ 25656 h 199631"/>
                      <a:gd name="connsiteX5" fmla="*/ 97334 w 198091"/>
                      <a:gd name="connsiteY5" fmla="*/ 0 h 199631"/>
                      <a:gd name="connsiteX6" fmla="*/ 133994 w 198091"/>
                      <a:gd name="connsiteY6" fmla="*/ 0 h 199631"/>
                      <a:gd name="connsiteX7" fmla="*/ 158434 w 198091"/>
                      <a:gd name="connsiteY7" fmla="*/ 25534 h 199631"/>
                      <a:gd name="connsiteX8" fmla="*/ 158434 w 198091"/>
                      <a:gd name="connsiteY8" fmla="*/ 123273 h 199631"/>
                      <a:gd name="connsiteX9" fmla="*/ 164545 w 198091"/>
                      <a:gd name="connsiteY9" fmla="*/ 123273 h 199631"/>
                      <a:gd name="connsiteX10" fmla="*/ 187335 w 198091"/>
                      <a:gd name="connsiteY10" fmla="*/ 147023 h 199631"/>
                      <a:gd name="connsiteX11" fmla="*/ 187335 w 198091"/>
                      <a:gd name="connsiteY11" fmla="*/ 147097 h 199631"/>
                      <a:gd name="connsiteX12" fmla="*/ 198089 w 198091"/>
                      <a:gd name="connsiteY12" fmla="*/ 158331 h 199631"/>
                      <a:gd name="connsiteX13" fmla="*/ 198089 w 198091"/>
                      <a:gd name="connsiteY13" fmla="*/ 158337 h 199631"/>
                      <a:gd name="connsiteX14" fmla="*/ 198089 w 198091"/>
                      <a:gd name="connsiteY14" fmla="*/ 199631 h 199631"/>
                      <a:gd name="connsiteX15" fmla="*/ 185319 w 198091"/>
                      <a:gd name="connsiteY15" fmla="*/ 199631 h 199631"/>
                      <a:gd name="connsiteX16" fmla="*/ 146624 w 198091"/>
                      <a:gd name="connsiteY16" fmla="*/ 189815 h 199631"/>
                      <a:gd name="connsiteX17" fmla="*/ 136805 w 198091"/>
                      <a:gd name="connsiteY17" fmla="*/ 199631 h 199631"/>
                      <a:gd name="connsiteX18" fmla="*/ 72160 w 198091"/>
                      <a:gd name="connsiteY18" fmla="*/ 199631 h 199631"/>
                      <a:gd name="connsiteX19" fmla="*/ 33465 w 198091"/>
                      <a:gd name="connsiteY19" fmla="*/ 189815 h 199631"/>
                      <a:gd name="connsiteX20" fmla="*/ 23646 w 198091"/>
                      <a:gd name="connsiteY20" fmla="*/ 199631 h 199631"/>
                      <a:gd name="connsiteX21" fmla="*/ 7821 w 198091"/>
                      <a:gd name="connsiteY21" fmla="*/ 199631 h 199631"/>
                      <a:gd name="connsiteX22" fmla="*/ 0 w 198091"/>
                      <a:gd name="connsiteY22" fmla="*/ 191812 h 199631"/>
                      <a:gd name="connsiteX23" fmla="*/ 0 w 198091"/>
                      <a:gd name="connsiteY23" fmla="*/ 138728 h 199631"/>
                      <a:gd name="connsiteX24" fmla="*/ 60307 w 198091"/>
                      <a:gd name="connsiteY24" fmla="*/ 110200 h 199631"/>
                      <a:gd name="connsiteX25" fmla="*/ 60307 w 198091"/>
                      <a:gd name="connsiteY25" fmla="*/ 132802 h 199631"/>
                      <a:gd name="connsiteX26" fmla="*/ 65744 w 198091"/>
                      <a:gd name="connsiteY26" fmla="*/ 124495 h 199631"/>
                      <a:gd name="connsiteX27" fmla="*/ 98617 w 198091"/>
                      <a:gd name="connsiteY27" fmla="*/ 106169 h 199631"/>
                      <a:gd name="connsiteX28" fmla="*/ 149636 w 198091"/>
                      <a:gd name="connsiteY28" fmla="*/ 106169 h 199631"/>
                      <a:gd name="connsiteX29" fmla="*/ 148781 w 198091"/>
                      <a:gd name="connsiteY29" fmla="*/ 25840 h 199631"/>
                      <a:gd name="connsiteX30" fmla="*/ 134911 w 198091"/>
                      <a:gd name="connsiteY30" fmla="*/ 11545 h 199631"/>
                      <a:gd name="connsiteX31" fmla="*/ 95134 w 198091"/>
                      <a:gd name="connsiteY31" fmla="*/ 11545 h 199631"/>
                      <a:gd name="connsiteX32" fmla="*/ 73993 w 198091"/>
                      <a:gd name="connsiteY32" fmla="*/ 26756 h 199631"/>
                      <a:gd name="connsiteX33" fmla="*/ 47598 w 198091"/>
                      <a:gd name="connsiteY33" fmla="*/ 99327 h 199631"/>
                      <a:gd name="connsiteX34" fmla="*/ 50042 w 198091"/>
                      <a:gd name="connsiteY34" fmla="*/ 99327 h 199631"/>
                      <a:gd name="connsiteX35" fmla="*/ 60307 w 198091"/>
                      <a:gd name="connsiteY35" fmla="*/ 110078 h 1996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</a:cxnLst>
                    <a:rect l="l" t="t" r="r" b="b"/>
                    <a:pathLst>
                      <a:path w="198091" h="199631">
                        <a:moveTo>
                          <a:pt x="19247" y="139950"/>
                        </a:moveTo>
                        <a:lnTo>
                          <a:pt x="19247" y="169943"/>
                        </a:lnTo>
                        <a:cubicBezTo>
                          <a:pt x="22033" y="169711"/>
                          <a:pt x="24831" y="169711"/>
                          <a:pt x="27618" y="169943"/>
                        </a:cubicBezTo>
                        <a:cubicBezTo>
                          <a:pt x="26945" y="166461"/>
                          <a:pt x="27618" y="118447"/>
                          <a:pt x="27618" y="118447"/>
                        </a:cubicBezTo>
                        <a:lnTo>
                          <a:pt x="61590" y="25656"/>
                        </a:lnTo>
                        <a:cubicBezTo>
                          <a:pt x="66911" y="10434"/>
                          <a:pt x="81203" y="177"/>
                          <a:pt x="97334" y="0"/>
                        </a:cubicBezTo>
                        <a:lnTo>
                          <a:pt x="133994" y="0"/>
                        </a:lnTo>
                        <a:cubicBezTo>
                          <a:pt x="147785" y="336"/>
                          <a:pt x="158709" y="11747"/>
                          <a:pt x="158434" y="25534"/>
                        </a:cubicBezTo>
                        <a:lnTo>
                          <a:pt x="158434" y="123273"/>
                        </a:lnTo>
                        <a:lnTo>
                          <a:pt x="164545" y="123273"/>
                        </a:lnTo>
                        <a:cubicBezTo>
                          <a:pt x="177400" y="123542"/>
                          <a:pt x="187604" y="134171"/>
                          <a:pt x="187335" y="147023"/>
                        </a:cubicBezTo>
                        <a:cubicBezTo>
                          <a:pt x="187335" y="147048"/>
                          <a:pt x="187335" y="147072"/>
                          <a:pt x="187335" y="147097"/>
                        </a:cubicBezTo>
                        <a:cubicBezTo>
                          <a:pt x="193409" y="147231"/>
                          <a:pt x="198223" y="152259"/>
                          <a:pt x="198089" y="158331"/>
                        </a:cubicBezTo>
                        <a:cubicBezTo>
                          <a:pt x="198089" y="158331"/>
                          <a:pt x="198089" y="158337"/>
                          <a:pt x="198089" y="158337"/>
                        </a:cubicBezTo>
                        <a:lnTo>
                          <a:pt x="198089" y="199631"/>
                        </a:lnTo>
                        <a:lnTo>
                          <a:pt x="185319" y="199631"/>
                        </a:lnTo>
                        <a:cubicBezTo>
                          <a:pt x="177345" y="186235"/>
                          <a:pt x="160023" y="181843"/>
                          <a:pt x="146624" y="189815"/>
                        </a:cubicBezTo>
                        <a:cubicBezTo>
                          <a:pt x="142585" y="192215"/>
                          <a:pt x="139206" y="195593"/>
                          <a:pt x="136805" y="199631"/>
                        </a:cubicBezTo>
                        <a:lnTo>
                          <a:pt x="72160" y="199631"/>
                        </a:lnTo>
                        <a:cubicBezTo>
                          <a:pt x="64186" y="186235"/>
                          <a:pt x="46864" y="181843"/>
                          <a:pt x="33465" y="189815"/>
                        </a:cubicBezTo>
                        <a:cubicBezTo>
                          <a:pt x="29426" y="192215"/>
                          <a:pt x="26053" y="195593"/>
                          <a:pt x="23646" y="199631"/>
                        </a:cubicBezTo>
                        <a:lnTo>
                          <a:pt x="7821" y="199631"/>
                        </a:lnTo>
                        <a:lnTo>
                          <a:pt x="0" y="191812"/>
                        </a:lnTo>
                        <a:lnTo>
                          <a:pt x="0" y="138728"/>
                        </a:lnTo>
                        <a:close/>
                        <a:moveTo>
                          <a:pt x="60307" y="110200"/>
                        </a:moveTo>
                        <a:lnTo>
                          <a:pt x="60307" y="132802"/>
                        </a:lnTo>
                        <a:lnTo>
                          <a:pt x="65744" y="124495"/>
                        </a:lnTo>
                        <a:cubicBezTo>
                          <a:pt x="72863" y="113187"/>
                          <a:pt x="85254" y="106279"/>
                          <a:pt x="98617" y="106169"/>
                        </a:cubicBezTo>
                        <a:lnTo>
                          <a:pt x="149636" y="106169"/>
                        </a:lnTo>
                        <a:lnTo>
                          <a:pt x="148781" y="25840"/>
                        </a:lnTo>
                        <a:cubicBezTo>
                          <a:pt x="148884" y="18069"/>
                          <a:pt x="142683" y="11680"/>
                          <a:pt x="134911" y="11545"/>
                        </a:cubicBezTo>
                        <a:lnTo>
                          <a:pt x="95134" y="11545"/>
                        </a:lnTo>
                        <a:cubicBezTo>
                          <a:pt x="85578" y="11637"/>
                          <a:pt x="77115" y="17727"/>
                          <a:pt x="73993" y="26756"/>
                        </a:cubicBezTo>
                        <a:lnTo>
                          <a:pt x="47598" y="99327"/>
                        </a:lnTo>
                        <a:lnTo>
                          <a:pt x="50042" y="99327"/>
                        </a:lnTo>
                        <a:cubicBezTo>
                          <a:pt x="55834" y="99492"/>
                          <a:pt x="60410" y="104287"/>
                          <a:pt x="60307" y="110078"/>
                        </a:cubicBezTo>
                      </a:path>
                    </a:pathLst>
                  </a:custGeom>
                  <a:solidFill>
                    <a:srgbClr val="C11B1A"/>
                  </a:solidFill>
                  <a:ln w="609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15" name="Freihandform 814">
                    <a:extLst>
                      <a:ext uri="{FF2B5EF4-FFF2-40B4-BE49-F238E27FC236}">
                        <a16:creationId xmlns:a16="http://schemas.microsoft.com/office/drawing/2014/main" id="{3F7B3A1B-D2D0-C645-B564-03FFB97AE353}"/>
                      </a:ext>
                    </a:extLst>
                  </p:cNvPr>
                  <p:cNvSpPr/>
                  <p:nvPr/>
                </p:nvSpPr>
                <p:spPr>
                  <a:xfrm>
                    <a:off x="-2881262" y="2443508"/>
                    <a:ext cx="50110" cy="50091"/>
                  </a:xfrm>
                  <a:custGeom>
                    <a:avLst/>
                    <a:gdLst>
                      <a:gd name="connsiteX0" fmla="*/ 23960 w 50110"/>
                      <a:gd name="connsiteY0" fmla="*/ 24 h 50091"/>
                      <a:gd name="connsiteX1" fmla="*/ 50086 w 50110"/>
                      <a:gd name="connsiteY1" fmla="*/ 23946 h 50091"/>
                      <a:gd name="connsiteX2" fmla="*/ 26159 w 50110"/>
                      <a:gd name="connsiteY2" fmla="*/ 50067 h 50091"/>
                      <a:gd name="connsiteX3" fmla="*/ 32 w 50110"/>
                      <a:gd name="connsiteY3" fmla="*/ 26145 h 50091"/>
                      <a:gd name="connsiteX4" fmla="*/ 8 w 50110"/>
                      <a:gd name="connsiteY4" fmla="*/ 25070 h 50091"/>
                      <a:gd name="connsiteX5" fmla="*/ 23825 w 50110"/>
                      <a:gd name="connsiteY5" fmla="*/ 24 h 50091"/>
                      <a:gd name="connsiteX6" fmla="*/ 23960 w 50110"/>
                      <a:gd name="connsiteY6" fmla="*/ 24 h 50091"/>
                      <a:gd name="connsiteX7" fmla="*/ 23960 w 50110"/>
                      <a:gd name="connsiteY7" fmla="*/ 34905 h 50091"/>
                      <a:gd name="connsiteX8" fmla="*/ 34334 w 50110"/>
                      <a:gd name="connsiteY8" fmla="*/ 25510 h 50091"/>
                      <a:gd name="connsiteX9" fmla="*/ 24937 w 50110"/>
                      <a:gd name="connsiteY9" fmla="*/ 15137 h 50091"/>
                      <a:gd name="connsiteX10" fmla="*/ 14562 w 50110"/>
                      <a:gd name="connsiteY10" fmla="*/ 24532 h 50091"/>
                      <a:gd name="connsiteX11" fmla="*/ 14550 w 50110"/>
                      <a:gd name="connsiteY11" fmla="*/ 25070 h 50091"/>
                      <a:gd name="connsiteX12" fmla="*/ 23960 w 50110"/>
                      <a:gd name="connsiteY12" fmla="*/ 34905 h 500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50110" h="50091">
                        <a:moveTo>
                          <a:pt x="23960" y="24"/>
                        </a:moveTo>
                        <a:cubicBezTo>
                          <a:pt x="37781" y="-580"/>
                          <a:pt x="49481" y="10128"/>
                          <a:pt x="50086" y="23946"/>
                        </a:cubicBezTo>
                        <a:cubicBezTo>
                          <a:pt x="50691" y="37764"/>
                          <a:pt x="39980" y="49462"/>
                          <a:pt x="26159" y="50067"/>
                        </a:cubicBezTo>
                        <a:cubicBezTo>
                          <a:pt x="12338" y="50671"/>
                          <a:pt x="637" y="39963"/>
                          <a:pt x="32" y="26145"/>
                        </a:cubicBezTo>
                        <a:cubicBezTo>
                          <a:pt x="14" y="25785"/>
                          <a:pt x="8" y="25430"/>
                          <a:pt x="8" y="25070"/>
                        </a:cubicBezTo>
                        <a:cubicBezTo>
                          <a:pt x="-334" y="11582"/>
                          <a:pt x="10334" y="366"/>
                          <a:pt x="23825" y="24"/>
                        </a:cubicBezTo>
                        <a:cubicBezTo>
                          <a:pt x="23868" y="24"/>
                          <a:pt x="23917" y="24"/>
                          <a:pt x="23960" y="24"/>
                        </a:cubicBezTo>
                        <a:moveTo>
                          <a:pt x="23960" y="34905"/>
                        </a:moveTo>
                        <a:cubicBezTo>
                          <a:pt x="29422" y="35174"/>
                          <a:pt x="34066" y="30971"/>
                          <a:pt x="34334" y="25510"/>
                        </a:cubicBezTo>
                        <a:cubicBezTo>
                          <a:pt x="34603" y="20049"/>
                          <a:pt x="30400" y="15406"/>
                          <a:pt x="24937" y="15137"/>
                        </a:cubicBezTo>
                        <a:cubicBezTo>
                          <a:pt x="19475" y="14868"/>
                          <a:pt x="14831" y="19071"/>
                          <a:pt x="14562" y="24532"/>
                        </a:cubicBezTo>
                        <a:cubicBezTo>
                          <a:pt x="14556" y="24710"/>
                          <a:pt x="14550" y="24893"/>
                          <a:pt x="14550" y="25070"/>
                        </a:cubicBezTo>
                        <a:cubicBezTo>
                          <a:pt x="14446" y="30378"/>
                          <a:pt x="18650" y="34771"/>
                          <a:pt x="23960" y="34905"/>
                        </a:cubicBezTo>
                      </a:path>
                    </a:pathLst>
                  </a:custGeom>
                  <a:solidFill>
                    <a:srgbClr val="C11B1A"/>
                  </a:solidFill>
                  <a:ln w="609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  <p:sp>
                <p:nvSpPr>
                  <p:cNvPr id="816" name="Freihandform 815">
                    <a:extLst>
                      <a:ext uri="{FF2B5EF4-FFF2-40B4-BE49-F238E27FC236}">
                        <a16:creationId xmlns:a16="http://schemas.microsoft.com/office/drawing/2014/main" id="{21E3F61B-E2BE-F94F-A08F-A6E32ABE2BD2}"/>
                      </a:ext>
                    </a:extLst>
                  </p:cNvPr>
                  <p:cNvSpPr/>
                  <p:nvPr/>
                </p:nvSpPr>
                <p:spPr>
                  <a:xfrm>
                    <a:off x="-2768715" y="2443510"/>
                    <a:ext cx="50108" cy="50092"/>
                  </a:xfrm>
                  <a:custGeom>
                    <a:avLst/>
                    <a:gdLst>
                      <a:gd name="connsiteX0" fmla="*/ 24021 w 50108"/>
                      <a:gd name="connsiteY0" fmla="*/ 22 h 50092"/>
                      <a:gd name="connsiteX1" fmla="*/ 50086 w 50108"/>
                      <a:gd name="connsiteY1" fmla="*/ 24005 h 50092"/>
                      <a:gd name="connsiteX2" fmla="*/ 26098 w 50108"/>
                      <a:gd name="connsiteY2" fmla="*/ 50070 h 50092"/>
                      <a:gd name="connsiteX3" fmla="*/ 32 w 50108"/>
                      <a:gd name="connsiteY3" fmla="*/ 26082 h 50092"/>
                      <a:gd name="connsiteX4" fmla="*/ 8 w 50108"/>
                      <a:gd name="connsiteY4" fmla="*/ 25068 h 50092"/>
                      <a:gd name="connsiteX5" fmla="*/ 23825 w 50108"/>
                      <a:gd name="connsiteY5" fmla="*/ 28 h 50092"/>
                      <a:gd name="connsiteX6" fmla="*/ 24021 w 50108"/>
                      <a:gd name="connsiteY6" fmla="*/ 22 h 50092"/>
                      <a:gd name="connsiteX7" fmla="*/ 24021 w 50108"/>
                      <a:gd name="connsiteY7" fmla="*/ 34902 h 50092"/>
                      <a:gd name="connsiteX8" fmla="*/ 34334 w 50108"/>
                      <a:gd name="connsiteY8" fmla="*/ 25440 h 50092"/>
                      <a:gd name="connsiteX9" fmla="*/ 24876 w 50108"/>
                      <a:gd name="connsiteY9" fmla="*/ 15129 h 50092"/>
                      <a:gd name="connsiteX10" fmla="*/ 14556 w 50108"/>
                      <a:gd name="connsiteY10" fmla="*/ 24591 h 50092"/>
                      <a:gd name="connsiteX11" fmla="*/ 14550 w 50108"/>
                      <a:gd name="connsiteY11" fmla="*/ 25068 h 50092"/>
                      <a:gd name="connsiteX12" fmla="*/ 24015 w 50108"/>
                      <a:gd name="connsiteY12" fmla="*/ 34902 h 50092"/>
                      <a:gd name="connsiteX13" fmla="*/ 24021 w 50108"/>
                      <a:gd name="connsiteY13" fmla="*/ 34902 h 500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50108" h="50092">
                        <a:moveTo>
                          <a:pt x="24021" y="22"/>
                        </a:moveTo>
                        <a:cubicBezTo>
                          <a:pt x="37842" y="-552"/>
                          <a:pt x="49518" y="10187"/>
                          <a:pt x="50086" y="24005"/>
                        </a:cubicBezTo>
                        <a:cubicBezTo>
                          <a:pt x="50661" y="37829"/>
                          <a:pt x="39919" y="49496"/>
                          <a:pt x="26098" y="50070"/>
                        </a:cubicBezTo>
                        <a:cubicBezTo>
                          <a:pt x="12277" y="50645"/>
                          <a:pt x="601" y="39905"/>
                          <a:pt x="32" y="26082"/>
                        </a:cubicBezTo>
                        <a:cubicBezTo>
                          <a:pt x="14" y="25746"/>
                          <a:pt x="8" y="25410"/>
                          <a:pt x="8" y="25068"/>
                        </a:cubicBezTo>
                        <a:cubicBezTo>
                          <a:pt x="-334" y="11580"/>
                          <a:pt x="10334" y="364"/>
                          <a:pt x="23825" y="28"/>
                        </a:cubicBezTo>
                        <a:cubicBezTo>
                          <a:pt x="23892" y="22"/>
                          <a:pt x="23953" y="22"/>
                          <a:pt x="24021" y="22"/>
                        </a:cubicBezTo>
                        <a:moveTo>
                          <a:pt x="24021" y="34902"/>
                        </a:moveTo>
                        <a:cubicBezTo>
                          <a:pt x="29483" y="35141"/>
                          <a:pt x="34102" y="30901"/>
                          <a:pt x="34334" y="25440"/>
                        </a:cubicBezTo>
                        <a:cubicBezTo>
                          <a:pt x="34573" y="19985"/>
                          <a:pt x="30338" y="15367"/>
                          <a:pt x="24876" y="15129"/>
                        </a:cubicBezTo>
                        <a:cubicBezTo>
                          <a:pt x="19414" y="14890"/>
                          <a:pt x="14794" y="19130"/>
                          <a:pt x="14556" y="24591"/>
                        </a:cubicBezTo>
                        <a:cubicBezTo>
                          <a:pt x="14550" y="24750"/>
                          <a:pt x="14550" y="24909"/>
                          <a:pt x="14550" y="25068"/>
                        </a:cubicBezTo>
                        <a:cubicBezTo>
                          <a:pt x="14446" y="30394"/>
                          <a:pt x="18686" y="34799"/>
                          <a:pt x="24015" y="34902"/>
                        </a:cubicBezTo>
                        <a:cubicBezTo>
                          <a:pt x="24021" y="34902"/>
                          <a:pt x="24021" y="34902"/>
                          <a:pt x="24021" y="34902"/>
                        </a:cubicBezTo>
                      </a:path>
                    </a:pathLst>
                  </a:custGeom>
                  <a:solidFill>
                    <a:srgbClr val="C11B1A"/>
                  </a:solidFill>
                  <a:ln w="609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de-DE"/>
                  </a:p>
                </p:txBody>
              </p:sp>
            </p:grpSp>
          </p:grpSp>
        </p:grpSp>
        <p:sp>
          <p:nvSpPr>
            <p:cNvPr id="795" name="Freihandform 794">
              <a:extLst>
                <a:ext uri="{FF2B5EF4-FFF2-40B4-BE49-F238E27FC236}">
                  <a16:creationId xmlns:a16="http://schemas.microsoft.com/office/drawing/2014/main" id="{DE6CF7EC-EF04-284A-952D-555421676DBF}"/>
                </a:ext>
              </a:extLst>
            </p:cNvPr>
            <p:cNvSpPr/>
            <p:nvPr/>
          </p:nvSpPr>
          <p:spPr>
            <a:xfrm>
              <a:off x="6413520" y="4127961"/>
              <a:ext cx="432874" cy="203664"/>
            </a:xfrm>
            <a:custGeom>
              <a:avLst/>
              <a:gdLst>
                <a:gd name="connsiteX0" fmla="*/ 0 w 207865"/>
                <a:gd name="connsiteY0" fmla="*/ 0 h 97799"/>
                <a:gd name="connsiteX1" fmla="*/ 207865 w 207865"/>
                <a:gd name="connsiteY1" fmla="*/ 0 h 97799"/>
                <a:gd name="connsiteX2" fmla="*/ 207865 w 207865"/>
                <a:gd name="connsiteY2" fmla="*/ 97800 h 97799"/>
                <a:gd name="connsiteX3" fmla="*/ 0 w 207865"/>
                <a:gd name="connsiteY3" fmla="*/ 97800 h 97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65" h="97799">
                  <a:moveTo>
                    <a:pt x="0" y="0"/>
                  </a:moveTo>
                  <a:lnTo>
                    <a:pt x="207865" y="0"/>
                  </a:lnTo>
                  <a:lnTo>
                    <a:pt x="207865" y="97800"/>
                  </a:lnTo>
                  <a:lnTo>
                    <a:pt x="0" y="97800"/>
                  </a:lnTo>
                  <a:close/>
                </a:path>
              </a:pathLst>
            </a:custGeom>
            <a:solidFill>
              <a:srgbClr val="C11B1A"/>
            </a:solidFill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6" name="Freihandform 795">
              <a:extLst>
                <a:ext uri="{FF2B5EF4-FFF2-40B4-BE49-F238E27FC236}">
                  <a16:creationId xmlns:a16="http://schemas.microsoft.com/office/drawing/2014/main" id="{80EAF5EC-52CC-2C4F-A039-AB1D20366E2C}"/>
                </a:ext>
              </a:extLst>
            </p:cNvPr>
            <p:cNvSpPr/>
            <p:nvPr/>
          </p:nvSpPr>
          <p:spPr>
            <a:xfrm>
              <a:off x="6413520" y="3881298"/>
              <a:ext cx="432874" cy="203664"/>
            </a:xfrm>
            <a:custGeom>
              <a:avLst/>
              <a:gdLst>
                <a:gd name="connsiteX0" fmla="*/ 0 w 207865"/>
                <a:gd name="connsiteY0" fmla="*/ 0 h 97799"/>
                <a:gd name="connsiteX1" fmla="*/ 207865 w 207865"/>
                <a:gd name="connsiteY1" fmla="*/ 0 h 97799"/>
                <a:gd name="connsiteX2" fmla="*/ 207865 w 207865"/>
                <a:gd name="connsiteY2" fmla="*/ 97800 h 97799"/>
                <a:gd name="connsiteX3" fmla="*/ 0 w 207865"/>
                <a:gd name="connsiteY3" fmla="*/ 97800 h 97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65" h="97799">
                  <a:moveTo>
                    <a:pt x="0" y="0"/>
                  </a:moveTo>
                  <a:lnTo>
                    <a:pt x="207865" y="0"/>
                  </a:lnTo>
                  <a:lnTo>
                    <a:pt x="207865" y="97800"/>
                  </a:lnTo>
                  <a:lnTo>
                    <a:pt x="0" y="97800"/>
                  </a:lnTo>
                  <a:close/>
                </a:path>
              </a:pathLst>
            </a:custGeom>
            <a:solidFill>
              <a:srgbClr val="C11B1A"/>
            </a:solidFill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7" name="Freihandform 796">
              <a:extLst>
                <a:ext uri="{FF2B5EF4-FFF2-40B4-BE49-F238E27FC236}">
                  <a16:creationId xmlns:a16="http://schemas.microsoft.com/office/drawing/2014/main" id="{AEEFB9D4-C7E1-0248-8181-94904149CB5A}"/>
                </a:ext>
              </a:extLst>
            </p:cNvPr>
            <p:cNvSpPr/>
            <p:nvPr/>
          </p:nvSpPr>
          <p:spPr>
            <a:xfrm>
              <a:off x="8055056" y="4426017"/>
              <a:ext cx="172029" cy="26460"/>
            </a:xfrm>
            <a:custGeom>
              <a:avLst/>
              <a:gdLst>
                <a:gd name="connsiteX0" fmla="*/ 0 w 82608"/>
                <a:gd name="connsiteY0" fmla="*/ 4398 h 12706"/>
                <a:gd name="connsiteX1" fmla="*/ 306 w 82608"/>
                <a:gd name="connsiteY1" fmla="*/ 11240 h 12706"/>
                <a:gd name="connsiteX2" fmla="*/ 82608 w 82608"/>
                <a:gd name="connsiteY2" fmla="*/ 12706 h 12706"/>
                <a:gd name="connsiteX3" fmla="*/ 81997 w 82608"/>
                <a:gd name="connsiteY3" fmla="*/ 0 h 12706"/>
                <a:gd name="connsiteX4" fmla="*/ 0 w 82608"/>
                <a:gd name="connsiteY4" fmla="*/ 4398 h 12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608" h="12706">
                  <a:moveTo>
                    <a:pt x="0" y="4398"/>
                  </a:moveTo>
                  <a:lnTo>
                    <a:pt x="306" y="11240"/>
                  </a:lnTo>
                  <a:lnTo>
                    <a:pt x="82608" y="12706"/>
                  </a:lnTo>
                  <a:lnTo>
                    <a:pt x="81997" y="0"/>
                  </a:lnTo>
                  <a:lnTo>
                    <a:pt x="0" y="4398"/>
                  </a:lnTo>
                  <a:close/>
                </a:path>
              </a:pathLst>
            </a:custGeom>
            <a:solidFill>
              <a:srgbClr val="C11B1A"/>
            </a:solidFill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798" name="Grafik 5">
              <a:extLst>
                <a:ext uri="{FF2B5EF4-FFF2-40B4-BE49-F238E27FC236}">
                  <a16:creationId xmlns:a16="http://schemas.microsoft.com/office/drawing/2014/main" id="{F3A058A5-6885-504B-AC73-FCD81BD9F7A5}"/>
                </a:ext>
              </a:extLst>
            </p:cNvPr>
            <p:cNvGrpSpPr/>
            <p:nvPr/>
          </p:nvGrpSpPr>
          <p:grpSpPr>
            <a:xfrm>
              <a:off x="8379871" y="3985994"/>
              <a:ext cx="231359" cy="257575"/>
              <a:chOff x="-2837705" y="2660085"/>
              <a:chExt cx="111098" cy="123687"/>
            </a:xfrm>
            <a:solidFill>
              <a:srgbClr val="C11B1A"/>
            </a:solidFill>
          </p:grpSpPr>
          <p:sp>
            <p:nvSpPr>
              <p:cNvPr id="804" name="Freihandform 803">
                <a:extLst>
                  <a:ext uri="{FF2B5EF4-FFF2-40B4-BE49-F238E27FC236}">
                    <a16:creationId xmlns:a16="http://schemas.microsoft.com/office/drawing/2014/main" id="{7163F99E-44D0-FD42-BFAA-294A474A2545}"/>
                  </a:ext>
                </a:extLst>
              </p:cNvPr>
              <p:cNvSpPr/>
              <p:nvPr/>
            </p:nvSpPr>
            <p:spPr>
              <a:xfrm>
                <a:off x="-2767500" y="2705729"/>
                <a:ext cx="40893" cy="78042"/>
              </a:xfrm>
              <a:custGeom>
                <a:avLst/>
                <a:gdLst>
                  <a:gd name="connsiteX0" fmla="*/ 40403 w 40893"/>
                  <a:gd name="connsiteY0" fmla="*/ 63212 h 78042"/>
                  <a:gd name="connsiteX1" fmla="*/ 19567 w 40893"/>
                  <a:gd name="connsiteY1" fmla="*/ 476 h 78042"/>
                  <a:gd name="connsiteX2" fmla="*/ 10341 w 40893"/>
                  <a:gd name="connsiteY2" fmla="*/ 1331 h 78042"/>
                  <a:gd name="connsiteX3" fmla="*/ 993 w 40893"/>
                  <a:gd name="connsiteY3" fmla="*/ 28759 h 78042"/>
                  <a:gd name="connsiteX4" fmla="*/ 3437 w 40893"/>
                  <a:gd name="connsiteY4" fmla="*/ 62723 h 78042"/>
                  <a:gd name="connsiteX5" fmla="*/ 16543 w 40893"/>
                  <a:gd name="connsiteY5" fmla="*/ 78001 h 78042"/>
                  <a:gd name="connsiteX6" fmla="*/ 19384 w 40893"/>
                  <a:gd name="connsiteY6" fmla="*/ 77934 h 78042"/>
                  <a:gd name="connsiteX7" fmla="*/ 28305 w 40893"/>
                  <a:gd name="connsiteY7" fmla="*/ 76651 h 78042"/>
                  <a:gd name="connsiteX8" fmla="*/ 40525 w 40893"/>
                  <a:gd name="connsiteY8" fmla="*/ 63212 h 78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893" h="78042">
                    <a:moveTo>
                      <a:pt x="40403" y="63212"/>
                    </a:moveTo>
                    <a:cubicBezTo>
                      <a:pt x="41686" y="43664"/>
                      <a:pt x="42114" y="6584"/>
                      <a:pt x="19567" y="476"/>
                    </a:cubicBezTo>
                    <a:cubicBezTo>
                      <a:pt x="16494" y="-379"/>
                      <a:pt x="13207" y="-74"/>
                      <a:pt x="10341" y="1331"/>
                    </a:cubicBezTo>
                    <a:cubicBezTo>
                      <a:pt x="4842" y="3958"/>
                      <a:pt x="-2734" y="10921"/>
                      <a:pt x="993" y="28759"/>
                    </a:cubicBezTo>
                    <a:cubicBezTo>
                      <a:pt x="3278" y="39926"/>
                      <a:pt x="4103" y="51343"/>
                      <a:pt x="3437" y="62723"/>
                    </a:cubicBezTo>
                    <a:cubicBezTo>
                      <a:pt x="2838" y="70560"/>
                      <a:pt x="8704" y="77402"/>
                      <a:pt x="16543" y="78001"/>
                    </a:cubicBezTo>
                    <a:cubicBezTo>
                      <a:pt x="17490" y="78074"/>
                      <a:pt x="18443" y="78050"/>
                      <a:pt x="19384" y="77934"/>
                    </a:cubicBezTo>
                    <a:lnTo>
                      <a:pt x="28305" y="76651"/>
                    </a:lnTo>
                    <a:cubicBezTo>
                      <a:pt x="35069" y="75667"/>
                      <a:pt x="40189" y="70035"/>
                      <a:pt x="40525" y="63212"/>
                    </a:cubicBezTo>
                  </a:path>
                </a:pathLst>
              </a:custGeom>
              <a:solidFill>
                <a:srgbClr val="C11B1A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05" name="Freihandform 804">
                <a:extLst>
                  <a:ext uri="{FF2B5EF4-FFF2-40B4-BE49-F238E27FC236}">
                    <a16:creationId xmlns:a16="http://schemas.microsoft.com/office/drawing/2014/main" id="{BC385979-9E54-ED4E-B99C-7D0387EF9AEE}"/>
                  </a:ext>
                </a:extLst>
              </p:cNvPr>
              <p:cNvSpPr/>
              <p:nvPr/>
            </p:nvSpPr>
            <p:spPr>
              <a:xfrm>
                <a:off x="-2789669" y="2660085"/>
                <a:ext cx="43491" cy="43495"/>
              </a:xfrm>
              <a:custGeom>
                <a:avLst/>
                <a:gdLst>
                  <a:gd name="connsiteX0" fmla="*/ 4 w 43491"/>
                  <a:gd name="connsiteY0" fmla="*/ 22663 h 43495"/>
                  <a:gd name="connsiteX1" fmla="*/ 22654 w 43491"/>
                  <a:gd name="connsiteY1" fmla="*/ 43475 h 43495"/>
                  <a:gd name="connsiteX2" fmla="*/ 43471 w 43491"/>
                  <a:gd name="connsiteY2" fmla="*/ 20831 h 43495"/>
                  <a:gd name="connsiteX3" fmla="*/ 21756 w 43491"/>
                  <a:gd name="connsiteY3" fmla="*/ 0 h 43495"/>
                  <a:gd name="connsiteX4" fmla="*/ 4 w 43491"/>
                  <a:gd name="connsiteY4" fmla="*/ 22663 h 43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491" h="43495">
                    <a:moveTo>
                      <a:pt x="4" y="22663"/>
                    </a:moveTo>
                    <a:cubicBezTo>
                      <a:pt x="511" y="34660"/>
                      <a:pt x="10648" y="43982"/>
                      <a:pt x="22654" y="43475"/>
                    </a:cubicBezTo>
                    <a:cubicBezTo>
                      <a:pt x="34655" y="42968"/>
                      <a:pt x="43979" y="32828"/>
                      <a:pt x="43471" y="20831"/>
                    </a:cubicBezTo>
                    <a:cubicBezTo>
                      <a:pt x="42977" y="9194"/>
                      <a:pt x="33408" y="12"/>
                      <a:pt x="21756" y="0"/>
                    </a:cubicBezTo>
                    <a:cubicBezTo>
                      <a:pt x="9493" y="269"/>
                      <a:pt x="-234" y="10403"/>
                      <a:pt x="4" y="22663"/>
                    </a:cubicBezTo>
                  </a:path>
                </a:pathLst>
              </a:custGeom>
              <a:solidFill>
                <a:srgbClr val="C11B1A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06" name="Freihandform 805">
                <a:extLst>
                  <a:ext uri="{FF2B5EF4-FFF2-40B4-BE49-F238E27FC236}">
                    <a16:creationId xmlns:a16="http://schemas.microsoft.com/office/drawing/2014/main" id="{35C0C94F-4016-2E45-A0CD-CE926DA0D243}"/>
                  </a:ext>
                </a:extLst>
              </p:cNvPr>
              <p:cNvSpPr/>
              <p:nvPr/>
            </p:nvSpPr>
            <p:spPr>
              <a:xfrm>
                <a:off x="-2763758" y="2662624"/>
                <a:ext cx="32705" cy="17925"/>
              </a:xfrm>
              <a:custGeom>
                <a:avLst/>
                <a:gdLst>
                  <a:gd name="connsiteX0" fmla="*/ 0 w 32705"/>
                  <a:gd name="connsiteY0" fmla="*/ 332 h 17925"/>
                  <a:gd name="connsiteX1" fmla="*/ 29084 w 32705"/>
                  <a:gd name="connsiteY1" fmla="*/ 332 h 17925"/>
                  <a:gd name="connsiteX2" fmla="*/ 29084 w 32705"/>
                  <a:gd name="connsiteY2" fmla="*/ 11817 h 17925"/>
                  <a:gd name="connsiteX3" fmla="*/ 1894 w 32705"/>
                  <a:gd name="connsiteY3" fmla="*/ 17925 h 17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705" h="17925">
                    <a:moveTo>
                      <a:pt x="0" y="332"/>
                    </a:moveTo>
                    <a:cubicBezTo>
                      <a:pt x="0" y="332"/>
                      <a:pt x="24440" y="2715"/>
                      <a:pt x="29084" y="332"/>
                    </a:cubicBezTo>
                    <a:cubicBezTo>
                      <a:pt x="33728" y="-2050"/>
                      <a:pt x="34094" y="9068"/>
                      <a:pt x="29084" y="11817"/>
                    </a:cubicBezTo>
                    <a:cubicBezTo>
                      <a:pt x="20224" y="14675"/>
                      <a:pt x="11126" y="16722"/>
                      <a:pt x="1894" y="17925"/>
                    </a:cubicBezTo>
                    <a:close/>
                  </a:path>
                </a:pathLst>
              </a:custGeom>
              <a:solidFill>
                <a:srgbClr val="C11B1A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07" name="Freihandform 806">
                <a:extLst>
                  <a:ext uri="{FF2B5EF4-FFF2-40B4-BE49-F238E27FC236}">
                    <a16:creationId xmlns:a16="http://schemas.microsoft.com/office/drawing/2014/main" id="{72C70F21-88F6-A344-85DB-B11BCEB33762}"/>
                  </a:ext>
                </a:extLst>
              </p:cNvPr>
              <p:cNvSpPr/>
              <p:nvPr/>
            </p:nvSpPr>
            <p:spPr>
              <a:xfrm>
                <a:off x="-2821828" y="2715403"/>
                <a:ext cx="71953" cy="38376"/>
              </a:xfrm>
              <a:custGeom>
                <a:avLst/>
                <a:gdLst>
                  <a:gd name="connsiteX0" fmla="*/ 57643 w 71953"/>
                  <a:gd name="connsiteY0" fmla="*/ 27 h 38376"/>
                  <a:gd name="connsiteX1" fmla="*/ 12917 w 71953"/>
                  <a:gd name="connsiteY1" fmla="*/ 20918 h 38376"/>
                  <a:gd name="connsiteX2" fmla="*/ 1613 w 71953"/>
                  <a:gd name="connsiteY2" fmla="*/ 31303 h 38376"/>
                  <a:gd name="connsiteX3" fmla="*/ 5646 w 71953"/>
                  <a:gd name="connsiteY3" fmla="*/ 35090 h 38376"/>
                  <a:gd name="connsiteX4" fmla="*/ 58987 w 71953"/>
                  <a:gd name="connsiteY4" fmla="*/ 23667 h 38376"/>
                  <a:gd name="connsiteX5" fmla="*/ 57643 w 71953"/>
                  <a:gd name="connsiteY5" fmla="*/ 27 h 38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1953" h="38376">
                    <a:moveTo>
                      <a:pt x="57643" y="27"/>
                    </a:moveTo>
                    <a:cubicBezTo>
                      <a:pt x="57643" y="1859"/>
                      <a:pt x="34180" y="24095"/>
                      <a:pt x="12917" y="20918"/>
                    </a:cubicBezTo>
                    <a:cubicBezTo>
                      <a:pt x="-2969" y="18597"/>
                      <a:pt x="-647" y="27027"/>
                      <a:pt x="1613" y="31303"/>
                    </a:cubicBezTo>
                    <a:cubicBezTo>
                      <a:pt x="2457" y="33013"/>
                      <a:pt x="3886" y="34357"/>
                      <a:pt x="5646" y="35090"/>
                    </a:cubicBezTo>
                    <a:cubicBezTo>
                      <a:pt x="12856" y="38083"/>
                      <a:pt x="34547" y="44376"/>
                      <a:pt x="58987" y="23667"/>
                    </a:cubicBezTo>
                    <a:cubicBezTo>
                      <a:pt x="88927" y="-1745"/>
                      <a:pt x="57643" y="27"/>
                      <a:pt x="57643" y="27"/>
                    </a:cubicBezTo>
                  </a:path>
                </a:pathLst>
              </a:custGeom>
              <a:solidFill>
                <a:srgbClr val="C11B1A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08" name="Freihandform 807">
                <a:extLst>
                  <a:ext uri="{FF2B5EF4-FFF2-40B4-BE49-F238E27FC236}">
                    <a16:creationId xmlns:a16="http://schemas.microsoft.com/office/drawing/2014/main" id="{6F0924A9-0DB0-5545-975F-9036060A44C9}"/>
                  </a:ext>
                </a:extLst>
              </p:cNvPr>
              <p:cNvSpPr/>
              <p:nvPr/>
            </p:nvSpPr>
            <p:spPr>
              <a:xfrm>
                <a:off x="-2837705" y="2739188"/>
                <a:ext cx="29081" cy="27593"/>
              </a:xfrm>
              <a:custGeom>
                <a:avLst/>
                <a:gdLst>
                  <a:gd name="connsiteX0" fmla="*/ 11991 w 29081"/>
                  <a:gd name="connsiteY0" fmla="*/ 16742 h 27593"/>
                  <a:gd name="connsiteX1" fmla="*/ 28855 w 29081"/>
                  <a:gd name="connsiteY1" fmla="*/ 27249 h 27593"/>
                  <a:gd name="connsiteX2" fmla="*/ 17123 w 29081"/>
                  <a:gd name="connsiteY2" fmla="*/ 10816 h 27593"/>
                  <a:gd name="connsiteX3" fmla="*/ 320 w 29081"/>
                  <a:gd name="connsiteY3" fmla="*/ 370 h 27593"/>
                  <a:gd name="connsiteX4" fmla="*/ 7591 w 29081"/>
                  <a:gd name="connsiteY4" fmla="*/ 12282 h 27593"/>
                  <a:gd name="connsiteX5" fmla="*/ 11991 w 29081"/>
                  <a:gd name="connsiteY5" fmla="*/ 16742 h 27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081" h="27593">
                    <a:moveTo>
                      <a:pt x="11991" y="16742"/>
                    </a:moveTo>
                    <a:cubicBezTo>
                      <a:pt x="19873" y="24133"/>
                      <a:pt x="27449" y="28959"/>
                      <a:pt x="28855" y="27249"/>
                    </a:cubicBezTo>
                    <a:cubicBezTo>
                      <a:pt x="30260" y="25538"/>
                      <a:pt x="25005" y="18269"/>
                      <a:pt x="17123" y="10816"/>
                    </a:cubicBezTo>
                    <a:cubicBezTo>
                      <a:pt x="9241" y="3364"/>
                      <a:pt x="1726" y="-1401"/>
                      <a:pt x="320" y="370"/>
                    </a:cubicBezTo>
                    <a:cubicBezTo>
                      <a:pt x="-1085" y="2142"/>
                      <a:pt x="2276" y="6479"/>
                      <a:pt x="7591" y="12282"/>
                    </a:cubicBezTo>
                    <a:cubicBezTo>
                      <a:pt x="8936" y="13748"/>
                      <a:pt x="10402" y="15214"/>
                      <a:pt x="11991" y="16742"/>
                    </a:cubicBezTo>
                  </a:path>
                </a:pathLst>
              </a:custGeom>
              <a:solidFill>
                <a:srgbClr val="C11B1A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799" name="Freihandform 798">
              <a:extLst>
                <a:ext uri="{FF2B5EF4-FFF2-40B4-BE49-F238E27FC236}">
                  <a16:creationId xmlns:a16="http://schemas.microsoft.com/office/drawing/2014/main" id="{B500587E-A098-4448-9C49-2A59139CA1D9}"/>
                </a:ext>
              </a:extLst>
            </p:cNvPr>
            <p:cNvSpPr/>
            <p:nvPr/>
          </p:nvSpPr>
          <p:spPr>
            <a:xfrm>
              <a:off x="8358399" y="4176301"/>
              <a:ext cx="57893" cy="56989"/>
            </a:xfrm>
            <a:custGeom>
              <a:avLst/>
              <a:gdLst>
                <a:gd name="connsiteX0" fmla="*/ 27801 w 27800"/>
                <a:gd name="connsiteY0" fmla="*/ 6964 h 27366"/>
                <a:gd name="connsiteX1" fmla="*/ 7821 w 27800"/>
                <a:gd name="connsiteY1" fmla="*/ 27367 h 27366"/>
                <a:gd name="connsiteX2" fmla="*/ 0 w 27800"/>
                <a:gd name="connsiteY2" fmla="*/ 15577 h 27366"/>
                <a:gd name="connsiteX3" fmla="*/ 17903 w 27800"/>
                <a:gd name="connsiteY3" fmla="*/ 0 h 27366"/>
                <a:gd name="connsiteX4" fmla="*/ 27801 w 27800"/>
                <a:gd name="connsiteY4" fmla="*/ 6964 h 27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00" h="27366">
                  <a:moveTo>
                    <a:pt x="27801" y="6964"/>
                  </a:moveTo>
                  <a:lnTo>
                    <a:pt x="7821" y="27367"/>
                  </a:lnTo>
                  <a:lnTo>
                    <a:pt x="0" y="15577"/>
                  </a:lnTo>
                  <a:lnTo>
                    <a:pt x="17903" y="0"/>
                  </a:lnTo>
                  <a:lnTo>
                    <a:pt x="27801" y="6964"/>
                  </a:lnTo>
                  <a:close/>
                </a:path>
              </a:pathLst>
            </a:custGeom>
            <a:solidFill>
              <a:srgbClr val="C11B1A"/>
            </a:solidFill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0" name="Freihandform 799">
              <a:extLst>
                <a:ext uri="{FF2B5EF4-FFF2-40B4-BE49-F238E27FC236}">
                  <a16:creationId xmlns:a16="http://schemas.microsoft.com/office/drawing/2014/main" id="{C4E58447-D17B-9A4B-BC13-40F77445EDB2}"/>
                </a:ext>
              </a:extLst>
            </p:cNvPr>
            <p:cNvSpPr/>
            <p:nvPr/>
          </p:nvSpPr>
          <p:spPr>
            <a:xfrm>
              <a:off x="8217161" y="3923913"/>
              <a:ext cx="548797" cy="554641"/>
            </a:xfrm>
            <a:custGeom>
              <a:avLst/>
              <a:gdLst>
                <a:gd name="connsiteX0" fmla="*/ 25235 w 263531"/>
                <a:gd name="connsiteY0" fmla="*/ 186681 h 266337"/>
                <a:gd name="connsiteX1" fmla="*/ 25235 w 263531"/>
                <a:gd name="connsiteY1" fmla="*/ 226632 h 266337"/>
                <a:gd name="connsiteX2" fmla="*/ 36355 w 263531"/>
                <a:gd name="connsiteY2" fmla="*/ 226632 h 266337"/>
                <a:gd name="connsiteX3" fmla="*/ 36355 w 263531"/>
                <a:gd name="connsiteY3" fmla="*/ 226632 h 266337"/>
                <a:gd name="connsiteX4" fmla="*/ 36355 w 263531"/>
                <a:gd name="connsiteY4" fmla="*/ 226632 h 266337"/>
                <a:gd name="connsiteX5" fmla="*/ 36355 w 263531"/>
                <a:gd name="connsiteY5" fmla="*/ 157970 h 266337"/>
                <a:gd name="connsiteX6" fmla="*/ 81570 w 263531"/>
                <a:gd name="connsiteY6" fmla="*/ 34270 h 266337"/>
                <a:gd name="connsiteX7" fmla="*/ 129289 w 263531"/>
                <a:gd name="connsiteY7" fmla="*/ 0 h 266337"/>
                <a:gd name="connsiteX8" fmla="*/ 178170 w 263531"/>
                <a:gd name="connsiteY8" fmla="*/ 0 h 266337"/>
                <a:gd name="connsiteX9" fmla="*/ 210798 w 263531"/>
                <a:gd name="connsiteY9" fmla="*/ 34068 h 266337"/>
                <a:gd name="connsiteX10" fmla="*/ 210798 w 263531"/>
                <a:gd name="connsiteY10" fmla="*/ 34086 h 266337"/>
                <a:gd name="connsiteX11" fmla="*/ 210798 w 263531"/>
                <a:gd name="connsiteY11" fmla="*/ 163773 h 266337"/>
                <a:gd name="connsiteX12" fmla="*/ 218619 w 263531"/>
                <a:gd name="connsiteY12" fmla="*/ 163773 h 266337"/>
                <a:gd name="connsiteX13" fmla="*/ 249169 w 263531"/>
                <a:gd name="connsiteY13" fmla="*/ 195404 h 266337"/>
                <a:gd name="connsiteX14" fmla="*/ 249169 w 263531"/>
                <a:gd name="connsiteY14" fmla="*/ 195539 h 266337"/>
                <a:gd name="connsiteX15" fmla="*/ 263528 w 263531"/>
                <a:gd name="connsiteY15" fmla="*/ 210499 h 266337"/>
                <a:gd name="connsiteX16" fmla="*/ 263528 w 263531"/>
                <a:gd name="connsiteY16" fmla="*/ 210505 h 266337"/>
                <a:gd name="connsiteX17" fmla="*/ 263528 w 263531"/>
                <a:gd name="connsiteY17" fmla="*/ 266338 h 266337"/>
                <a:gd name="connsiteX18" fmla="*/ 246481 w 263531"/>
                <a:gd name="connsiteY18" fmla="*/ 266338 h 266337"/>
                <a:gd name="connsiteX19" fmla="*/ 195016 w 263531"/>
                <a:gd name="connsiteY19" fmla="*/ 253100 h 266337"/>
                <a:gd name="connsiteX20" fmla="*/ 181775 w 263531"/>
                <a:gd name="connsiteY20" fmla="*/ 266338 h 266337"/>
                <a:gd name="connsiteX21" fmla="*/ 96234 w 263531"/>
                <a:gd name="connsiteY21" fmla="*/ 266338 h 266337"/>
                <a:gd name="connsiteX22" fmla="*/ 44866 w 263531"/>
                <a:gd name="connsiteY22" fmla="*/ 253064 h 266337"/>
                <a:gd name="connsiteX23" fmla="*/ 31589 w 263531"/>
                <a:gd name="connsiteY23" fmla="*/ 266338 h 266337"/>
                <a:gd name="connsiteX24" fmla="*/ 10448 w 263531"/>
                <a:gd name="connsiteY24" fmla="*/ 266338 h 266337"/>
                <a:gd name="connsiteX25" fmla="*/ 0 w 263531"/>
                <a:gd name="connsiteY25" fmla="*/ 255892 h 266337"/>
                <a:gd name="connsiteX26" fmla="*/ 0 w 263531"/>
                <a:gd name="connsiteY26" fmla="*/ 185337 h 266337"/>
                <a:gd name="connsiteX27" fmla="*/ 80225 w 263531"/>
                <a:gd name="connsiteY27" fmla="*/ 146975 h 266337"/>
                <a:gd name="connsiteX28" fmla="*/ 80225 w 263531"/>
                <a:gd name="connsiteY28" fmla="*/ 177151 h 266337"/>
                <a:gd name="connsiteX29" fmla="*/ 87435 w 263531"/>
                <a:gd name="connsiteY29" fmla="*/ 166034 h 266337"/>
                <a:gd name="connsiteX30" fmla="*/ 131367 w 263531"/>
                <a:gd name="connsiteY30" fmla="*/ 141599 h 266337"/>
                <a:gd name="connsiteX31" fmla="*/ 199311 w 263531"/>
                <a:gd name="connsiteY31" fmla="*/ 141599 h 266337"/>
                <a:gd name="connsiteX32" fmla="*/ 198211 w 263531"/>
                <a:gd name="connsiteY32" fmla="*/ 34453 h 266337"/>
                <a:gd name="connsiteX33" fmla="*/ 179881 w 263531"/>
                <a:gd name="connsiteY33" fmla="*/ 15394 h 266337"/>
                <a:gd name="connsiteX34" fmla="*/ 126418 w 263531"/>
                <a:gd name="connsiteY34" fmla="*/ 15394 h 266337"/>
                <a:gd name="connsiteX35" fmla="*/ 98250 w 263531"/>
                <a:gd name="connsiteY35" fmla="*/ 35736 h 266337"/>
                <a:gd name="connsiteX36" fmla="*/ 63056 w 263531"/>
                <a:gd name="connsiteY36" fmla="*/ 132497 h 266337"/>
                <a:gd name="connsiteX37" fmla="*/ 66539 w 263531"/>
                <a:gd name="connsiteY37" fmla="*/ 132497 h 266337"/>
                <a:gd name="connsiteX38" fmla="*/ 80225 w 263531"/>
                <a:gd name="connsiteY38" fmla="*/ 146785 h 266337"/>
                <a:gd name="connsiteX39" fmla="*/ 80225 w 263531"/>
                <a:gd name="connsiteY39" fmla="*/ 146791 h 266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263531" h="266337">
                  <a:moveTo>
                    <a:pt x="25235" y="186681"/>
                  </a:moveTo>
                  <a:lnTo>
                    <a:pt x="25235" y="226632"/>
                  </a:lnTo>
                  <a:cubicBezTo>
                    <a:pt x="28931" y="226302"/>
                    <a:pt x="32658" y="226302"/>
                    <a:pt x="36355" y="226632"/>
                  </a:cubicBezTo>
                  <a:cubicBezTo>
                    <a:pt x="36355" y="226632"/>
                    <a:pt x="36355" y="226998"/>
                    <a:pt x="36355" y="226632"/>
                  </a:cubicBezTo>
                  <a:cubicBezTo>
                    <a:pt x="36355" y="226265"/>
                    <a:pt x="36355" y="226632"/>
                    <a:pt x="36355" y="226632"/>
                  </a:cubicBezTo>
                  <a:cubicBezTo>
                    <a:pt x="35500" y="221989"/>
                    <a:pt x="36355" y="157970"/>
                    <a:pt x="36355" y="157970"/>
                  </a:cubicBezTo>
                  <a:lnTo>
                    <a:pt x="81570" y="34270"/>
                  </a:lnTo>
                  <a:cubicBezTo>
                    <a:pt x="88688" y="13952"/>
                    <a:pt x="107757" y="257"/>
                    <a:pt x="129289" y="0"/>
                  </a:cubicBezTo>
                  <a:lnTo>
                    <a:pt x="178170" y="0"/>
                  </a:lnTo>
                  <a:cubicBezTo>
                    <a:pt x="196592" y="403"/>
                    <a:pt x="211201" y="15656"/>
                    <a:pt x="210798" y="34068"/>
                  </a:cubicBezTo>
                  <a:cubicBezTo>
                    <a:pt x="210798" y="34074"/>
                    <a:pt x="210798" y="34080"/>
                    <a:pt x="210798" y="34086"/>
                  </a:cubicBezTo>
                  <a:lnTo>
                    <a:pt x="210798" y="163773"/>
                  </a:lnTo>
                  <a:lnTo>
                    <a:pt x="218619" y="163773"/>
                  </a:lnTo>
                  <a:cubicBezTo>
                    <a:pt x="235794" y="164073"/>
                    <a:pt x="249469" y="178233"/>
                    <a:pt x="249169" y="195404"/>
                  </a:cubicBezTo>
                  <a:cubicBezTo>
                    <a:pt x="249169" y="195447"/>
                    <a:pt x="249169" y="195496"/>
                    <a:pt x="249169" y="195539"/>
                  </a:cubicBezTo>
                  <a:cubicBezTo>
                    <a:pt x="257265" y="195703"/>
                    <a:pt x="263693" y="202405"/>
                    <a:pt x="263528" y="210499"/>
                  </a:cubicBezTo>
                  <a:cubicBezTo>
                    <a:pt x="263528" y="210499"/>
                    <a:pt x="263528" y="210505"/>
                    <a:pt x="263528" y="210505"/>
                  </a:cubicBezTo>
                  <a:lnTo>
                    <a:pt x="263528" y="266338"/>
                  </a:lnTo>
                  <a:lnTo>
                    <a:pt x="246481" y="266338"/>
                  </a:lnTo>
                  <a:cubicBezTo>
                    <a:pt x="235923" y="248476"/>
                    <a:pt x="212882" y="242551"/>
                    <a:pt x="195016" y="253100"/>
                  </a:cubicBezTo>
                  <a:cubicBezTo>
                    <a:pt x="189553" y="256326"/>
                    <a:pt x="185001" y="260877"/>
                    <a:pt x="181775" y="266338"/>
                  </a:cubicBezTo>
                  <a:lnTo>
                    <a:pt x="96234" y="266338"/>
                  </a:lnTo>
                  <a:cubicBezTo>
                    <a:pt x="85718" y="248488"/>
                    <a:pt x="62720" y="242551"/>
                    <a:pt x="44866" y="253064"/>
                  </a:cubicBezTo>
                  <a:cubicBezTo>
                    <a:pt x="39386" y="256289"/>
                    <a:pt x="34815" y="260859"/>
                    <a:pt x="31589" y="266338"/>
                  </a:cubicBezTo>
                  <a:lnTo>
                    <a:pt x="10448" y="266338"/>
                  </a:lnTo>
                  <a:lnTo>
                    <a:pt x="0" y="255892"/>
                  </a:lnTo>
                  <a:lnTo>
                    <a:pt x="0" y="185337"/>
                  </a:lnTo>
                  <a:close/>
                  <a:moveTo>
                    <a:pt x="80225" y="146975"/>
                  </a:moveTo>
                  <a:lnTo>
                    <a:pt x="80225" y="177151"/>
                  </a:lnTo>
                  <a:lnTo>
                    <a:pt x="87435" y="166034"/>
                  </a:lnTo>
                  <a:cubicBezTo>
                    <a:pt x="96973" y="150951"/>
                    <a:pt x="113519" y="141746"/>
                    <a:pt x="131367" y="141599"/>
                  </a:cubicBezTo>
                  <a:lnTo>
                    <a:pt x="199311" y="141599"/>
                  </a:lnTo>
                  <a:lnTo>
                    <a:pt x="198211" y="34453"/>
                  </a:lnTo>
                  <a:cubicBezTo>
                    <a:pt x="198315" y="24166"/>
                    <a:pt x="190164" y="15693"/>
                    <a:pt x="179881" y="15394"/>
                  </a:cubicBezTo>
                  <a:lnTo>
                    <a:pt x="126418" y="15394"/>
                  </a:lnTo>
                  <a:cubicBezTo>
                    <a:pt x="113672" y="15553"/>
                    <a:pt x="102405" y="23689"/>
                    <a:pt x="98250" y="35736"/>
                  </a:cubicBezTo>
                  <a:lnTo>
                    <a:pt x="63056" y="132497"/>
                  </a:lnTo>
                  <a:lnTo>
                    <a:pt x="66539" y="132497"/>
                  </a:lnTo>
                  <a:cubicBezTo>
                    <a:pt x="74262" y="132662"/>
                    <a:pt x="80390" y="139058"/>
                    <a:pt x="80225" y="146785"/>
                  </a:cubicBezTo>
                  <a:cubicBezTo>
                    <a:pt x="80225" y="146785"/>
                    <a:pt x="80225" y="146791"/>
                    <a:pt x="80225" y="146791"/>
                  </a:cubicBezTo>
                </a:path>
              </a:pathLst>
            </a:custGeom>
            <a:solidFill>
              <a:srgbClr val="C11B1A"/>
            </a:solidFill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1" name="Freihandform 800">
              <a:extLst>
                <a:ext uri="{FF2B5EF4-FFF2-40B4-BE49-F238E27FC236}">
                  <a16:creationId xmlns:a16="http://schemas.microsoft.com/office/drawing/2014/main" id="{F48B4BA1-E0F2-8245-B217-1345E36B2B4A}"/>
                </a:ext>
              </a:extLst>
            </p:cNvPr>
            <p:cNvSpPr/>
            <p:nvPr/>
          </p:nvSpPr>
          <p:spPr>
            <a:xfrm>
              <a:off x="8283567" y="4454833"/>
              <a:ext cx="139213" cy="139165"/>
            </a:xfrm>
            <a:custGeom>
              <a:avLst/>
              <a:gdLst>
                <a:gd name="connsiteX0" fmla="*/ 32024 w 66850"/>
                <a:gd name="connsiteY0" fmla="*/ 30 h 66827"/>
                <a:gd name="connsiteX1" fmla="*/ 66821 w 66850"/>
                <a:gd name="connsiteY1" fmla="*/ 32009 h 66827"/>
                <a:gd name="connsiteX2" fmla="*/ 34835 w 66850"/>
                <a:gd name="connsiteY2" fmla="*/ 66798 h 66827"/>
                <a:gd name="connsiteX3" fmla="*/ 38 w 66850"/>
                <a:gd name="connsiteY3" fmla="*/ 34819 h 66827"/>
                <a:gd name="connsiteX4" fmla="*/ 7 w 66850"/>
                <a:gd name="connsiteY4" fmla="*/ 33384 h 66827"/>
                <a:gd name="connsiteX5" fmla="*/ 32012 w 66850"/>
                <a:gd name="connsiteY5" fmla="*/ 30 h 66827"/>
                <a:gd name="connsiteX6" fmla="*/ 32024 w 66850"/>
                <a:gd name="connsiteY6" fmla="*/ 30 h 66827"/>
                <a:gd name="connsiteX7" fmla="*/ 32024 w 66850"/>
                <a:gd name="connsiteY7" fmla="*/ 46578 h 66827"/>
                <a:gd name="connsiteX8" fmla="*/ 45759 w 66850"/>
                <a:gd name="connsiteY8" fmla="*/ 33945 h 66827"/>
                <a:gd name="connsiteX9" fmla="*/ 33124 w 66850"/>
                <a:gd name="connsiteY9" fmla="*/ 20213 h 66827"/>
                <a:gd name="connsiteX10" fmla="*/ 19388 w 66850"/>
                <a:gd name="connsiteY10" fmla="*/ 32846 h 66827"/>
                <a:gd name="connsiteX11" fmla="*/ 19376 w 66850"/>
                <a:gd name="connsiteY11" fmla="*/ 33384 h 66827"/>
                <a:gd name="connsiteX12" fmla="*/ 31957 w 66850"/>
                <a:gd name="connsiteY12" fmla="*/ 46578 h 66827"/>
                <a:gd name="connsiteX13" fmla="*/ 32024 w 66850"/>
                <a:gd name="connsiteY13" fmla="*/ 46578 h 66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850" h="66827">
                  <a:moveTo>
                    <a:pt x="32024" y="30"/>
                  </a:moveTo>
                  <a:cubicBezTo>
                    <a:pt x="50464" y="-746"/>
                    <a:pt x="66045" y="13573"/>
                    <a:pt x="66821" y="32009"/>
                  </a:cubicBezTo>
                  <a:cubicBezTo>
                    <a:pt x="67597" y="50445"/>
                    <a:pt x="53275" y="66022"/>
                    <a:pt x="34835" y="66798"/>
                  </a:cubicBezTo>
                  <a:cubicBezTo>
                    <a:pt x="16394" y="67574"/>
                    <a:pt x="814" y="53255"/>
                    <a:pt x="38" y="34819"/>
                  </a:cubicBezTo>
                  <a:cubicBezTo>
                    <a:pt x="19" y="34343"/>
                    <a:pt x="7" y="33860"/>
                    <a:pt x="7" y="33384"/>
                  </a:cubicBezTo>
                  <a:cubicBezTo>
                    <a:pt x="-366" y="15338"/>
                    <a:pt x="13963" y="403"/>
                    <a:pt x="32012" y="30"/>
                  </a:cubicBezTo>
                  <a:cubicBezTo>
                    <a:pt x="32012" y="30"/>
                    <a:pt x="32018" y="30"/>
                    <a:pt x="32024" y="30"/>
                  </a:cubicBezTo>
                  <a:moveTo>
                    <a:pt x="32024" y="46578"/>
                  </a:moveTo>
                  <a:cubicBezTo>
                    <a:pt x="39307" y="46883"/>
                    <a:pt x="45454" y="41227"/>
                    <a:pt x="45759" y="33945"/>
                  </a:cubicBezTo>
                  <a:cubicBezTo>
                    <a:pt x="46065" y="26664"/>
                    <a:pt x="40407" y="20513"/>
                    <a:pt x="33124" y="20213"/>
                  </a:cubicBezTo>
                  <a:cubicBezTo>
                    <a:pt x="25841" y="19908"/>
                    <a:pt x="19694" y="25564"/>
                    <a:pt x="19388" y="32846"/>
                  </a:cubicBezTo>
                  <a:cubicBezTo>
                    <a:pt x="19382" y="33023"/>
                    <a:pt x="19376" y="33206"/>
                    <a:pt x="19376" y="33384"/>
                  </a:cubicBezTo>
                  <a:cubicBezTo>
                    <a:pt x="19205" y="40500"/>
                    <a:pt x="24838" y="46407"/>
                    <a:pt x="31957" y="46578"/>
                  </a:cubicBezTo>
                  <a:cubicBezTo>
                    <a:pt x="31981" y="46578"/>
                    <a:pt x="31999" y="46578"/>
                    <a:pt x="32024" y="46578"/>
                  </a:cubicBezTo>
                </a:path>
              </a:pathLst>
            </a:custGeom>
            <a:solidFill>
              <a:srgbClr val="C11B1A"/>
            </a:solidFill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2" name="Freihandform 801">
              <a:extLst>
                <a:ext uri="{FF2B5EF4-FFF2-40B4-BE49-F238E27FC236}">
                  <a16:creationId xmlns:a16="http://schemas.microsoft.com/office/drawing/2014/main" id="{3160341D-F22B-814A-A4A7-1D81ACA87ECD}"/>
                </a:ext>
              </a:extLst>
            </p:cNvPr>
            <p:cNvSpPr/>
            <p:nvPr/>
          </p:nvSpPr>
          <p:spPr>
            <a:xfrm>
              <a:off x="8596198" y="4454827"/>
              <a:ext cx="139220" cy="139165"/>
            </a:xfrm>
            <a:custGeom>
              <a:avLst/>
              <a:gdLst>
                <a:gd name="connsiteX0" fmla="*/ 31963 w 66853"/>
                <a:gd name="connsiteY0" fmla="*/ 33 h 66827"/>
                <a:gd name="connsiteX1" fmla="*/ 66821 w 66853"/>
                <a:gd name="connsiteY1" fmla="*/ 31951 h 66827"/>
                <a:gd name="connsiteX2" fmla="*/ 34896 w 66853"/>
                <a:gd name="connsiteY2" fmla="*/ 66795 h 66827"/>
                <a:gd name="connsiteX3" fmla="*/ 38 w 66853"/>
                <a:gd name="connsiteY3" fmla="*/ 34883 h 66827"/>
                <a:gd name="connsiteX4" fmla="*/ 7 w 66853"/>
                <a:gd name="connsiteY4" fmla="*/ 33386 h 66827"/>
                <a:gd name="connsiteX5" fmla="*/ 31963 w 66853"/>
                <a:gd name="connsiteY5" fmla="*/ 33 h 66827"/>
                <a:gd name="connsiteX6" fmla="*/ 31963 w 66853"/>
                <a:gd name="connsiteY6" fmla="*/ 46581 h 66827"/>
                <a:gd name="connsiteX7" fmla="*/ 45759 w 66853"/>
                <a:gd name="connsiteY7" fmla="*/ 34009 h 66827"/>
                <a:gd name="connsiteX8" fmla="*/ 33185 w 66853"/>
                <a:gd name="connsiteY8" fmla="*/ 20222 h 66827"/>
                <a:gd name="connsiteX9" fmla="*/ 19388 w 66853"/>
                <a:gd name="connsiteY9" fmla="*/ 32788 h 66827"/>
                <a:gd name="connsiteX10" fmla="*/ 19376 w 66853"/>
                <a:gd name="connsiteY10" fmla="*/ 33386 h 66827"/>
                <a:gd name="connsiteX11" fmla="*/ 31963 w 66853"/>
                <a:gd name="connsiteY11" fmla="*/ 46581 h 66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6853" h="66827">
                  <a:moveTo>
                    <a:pt x="31963" y="33"/>
                  </a:moveTo>
                  <a:cubicBezTo>
                    <a:pt x="50403" y="-779"/>
                    <a:pt x="66008" y="13515"/>
                    <a:pt x="66821" y="31951"/>
                  </a:cubicBezTo>
                  <a:cubicBezTo>
                    <a:pt x="67627" y="50387"/>
                    <a:pt x="53336" y="65988"/>
                    <a:pt x="34896" y="66795"/>
                  </a:cubicBezTo>
                  <a:cubicBezTo>
                    <a:pt x="16455" y="67607"/>
                    <a:pt x="850" y="53319"/>
                    <a:pt x="38" y="34883"/>
                  </a:cubicBezTo>
                  <a:cubicBezTo>
                    <a:pt x="19" y="34382"/>
                    <a:pt x="7" y="33887"/>
                    <a:pt x="7" y="33386"/>
                  </a:cubicBezTo>
                  <a:cubicBezTo>
                    <a:pt x="-366" y="15360"/>
                    <a:pt x="13932" y="436"/>
                    <a:pt x="31963" y="33"/>
                  </a:cubicBezTo>
                  <a:moveTo>
                    <a:pt x="31963" y="46581"/>
                  </a:moveTo>
                  <a:cubicBezTo>
                    <a:pt x="39246" y="46917"/>
                    <a:pt x="45417" y="41291"/>
                    <a:pt x="45759" y="34009"/>
                  </a:cubicBezTo>
                  <a:cubicBezTo>
                    <a:pt x="46095" y="26734"/>
                    <a:pt x="40468" y="20558"/>
                    <a:pt x="33185" y="20222"/>
                  </a:cubicBezTo>
                  <a:cubicBezTo>
                    <a:pt x="25902" y="19880"/>
                    <a:pt x="19731" y="25512"/>
                    <a:pt x="19388" y="32788"/>
                  </a:cubicBezTo>
                  <a:cubicBezTo>
                    <a:pt x="19382" y="32989"/>
                    <a:pt x="19376" y="33185"/>
                    <a:pt x="19376" y="33386"/>
                  </a:cubicBezTo>
                  <a:cubicBezTo>
                    <a:pt x="19242" y="40491"/>
                    <a:pt x="24857" y="46380"/>
                    <a:pt x="31963" y="46581"/>
                  </a:cubicBezTo>
                </a:path>
              </a:pathLst>
            </a:custGeom>
            <a:solidFill>
              <a:srgbClr val="C11B1A"/>
            </a:solidFill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859" name="Gruppieren 858">
            <a:extLst>
              <a:ext uri="{FF2B5EF4-FFF2-40B4-BE49-F238E27FC236}">
                <a16:creationId xmlns:a16="http://schemas.microsoft.com/office/drawing/2014/main" id="{6C4EB525-0A3F-4447-9DDF-72D5C84125A4}"/>
              </a:ext>
            </a:extLst>
          </p:cNvPr>
          <p:cNvGrpSpPr/>
          <p:nvPr/>
        </p:nvGrpSpPr>
        <p:grpSpPr>
          <a:xfrm>
            <a:off x="3941501" y="2585073"/>
            <a:ext cx="2034370" cy="1127713"/>
            <a:chOff x="3311865" y="2731102"/>
            <a:chExt cx="2132213" cy="1181951"/>
          </a:xfrm>
        </p:grpSpPr>
        <p:grpSp>
          <p:nvGrpSpPr>
            <p:cNvPr id="715" name="Gruppieren 714">
              <a:extLst>
                <a:ext uri="{FF2B5EF4-FFF2-40B4-BE49-F238E27FC236}">
                  <a16:creationId xmlns:a16="http://schemas.microsoft.com/office/drawing/2014/main" id="{4AA773F1-B489-2240-B222-3DB86B92F762}"/>
                </a:ext>
              </a:extLst>
            </p:cNvPr>
            <p:cNvGrpSpPr/>
            <p:nvPr/>
          </p:nvGrpSpPr>
          <p:grpSpPr>
            <a:xfrm>
              <a:off x="3311865" y="2731102"/>
              <a:ext cx="2132213" cy="1181951"/>
              <a:chOff x="3772548" y="987790"/>
              <a:chExt cx="3042539" cy="1686572"/>
            </a:xfrm>
          </p:grpSpPr>
          <p:sp>
            <p:nvSpPr>
              <p:cNvPr id="716" name="Freihandform 715">
                <a:extLst>
                  <a:ext uri="{FF2B5EF4-FFF2-40B4-BE49-F238E27FC236}">
                    <a16:creationId xmlns:a16="http://schemas.microsoft.com/office/drawing/2014/main" id="{88118CB2-4F85-7745-9EFB-B0337B5A7F04}"/>
                  </a:ext>
                </a:extLst>
              </p:cNvPr>
              <p:cNvSpPr/>
              <p:nvPr/>
            </p:nvSpPr>
            <p:spPr>
              <a:xfrm>
                <a:off x="4091598" y="1452286"/>
                <a:ext cx="2369613" cy="925774"/>
              </a:xfrm>
              <a:custGeom>
                <a:avLst/>
                <a:gdLst>
                  <a:gd name="connsiteX0" fmla="*/ 906248 w 906247"/>
                  <a:gd name="connsiteY0" fmla="*/ 0 h 354058"/>
                  <a:gd name="connsiteX1" fmla="*/ 906248 w 906247"/>
                  <a:gd name="connsiteY1" fmla="*/ 354058 h 354058"/>
                  <a:gd name="connsiteX2" fmla="*/ 87436 w 906247"/>
                  <a:gd name="connsiteY2" fmla="*/ 354058 h 354058"/>
                  <a:gd name="connsiteX3" fmla="*/ 0 w 906247"/>
                  <a:gd name="connsiteY3" fmla="*/ 354058 h 354058"/>
                  <a:gd name="connsiteX4" fmla="*/ 0 w 906247"/>
                  <a:gd name="connsiteY4" fmla="*/ 295232 h 354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06247" h="354058">
                    <a:moveTo>
                      <a:pt x="906248" y="0"/>
                    </a:moveTo>
                    <a:lnTo>
                      <a:pt x="906248" y="354058"/>
                    </a:lnTo>
                    <a:lnTo>
                      <a:pt x="87436" y="354058"/>
                    </a:lnTo>
                    <a:lnTo>
                      <a:pt x="0" y="354058"/>
                    </a:lnTo>
                    <a:lnTo>
                      <a:pt x="0" y="295232"/>
                    </a:lnTo>
                  </a:path>
                </a:pathLst>
              </a:custGeom>
              <a:noFill/>
              <a:ln w="12700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17" name="Freihandform 716">
                <a:extLst>
                  <a:ext uri="{FF2B5EF4-FFF2-40B4-BE49-F238E27FC236}">
                    <a16:creationId xmlns:a16="http://schemas.microsoft.com/office/drawing/2014/main" id="{483A5778-826F-9F4E-A73B-ADCE05273BC2}"/>
                  </a:ext>
                </a:extLst>
              </p:cNvPr>
              <p:cNvSpPr/>
              <p:nvPr/>
            </p:nvSpPr>
            <p:spPr>
              <a:xfrm rot="10800000">
                <a:off x="4091598" y="1423139"/>
                <a:ext cx="2369613" cy="791998"/>
              </a:xfrm>
              <a:custGeom>
                <a:avLst/>
                <a:gdLst>
                  <a:gd name="connsiteX0" fmla="*/ 906248 w 906247"/>
                  <a:gd name="connsiteY0" fmla="*/ 0 h 354058"/>
                  <a:gd name="connsiteX1" fmla="*/ 906248 w 906247"/>
                  <a:gd name="connsiteY1" fmla="*/ 354058 h 354058"/>
                  <a:gd name="connsiteX2" fmla="*/ 87436 w 906247"/>
                  <a:gd name="connsiteY2" fmla="*/ 354058 h 354058"/>
                  <a:gd name="connsiteX3" fmla="*/ 0 w 906247"/>
                  <a:gd name="connsiteY3" fmla="*/ 354058 h 354058"/>
                  <a:gd name="connsiteX4" fmla="*/ 0 w 906247"/>
                  <a:gd name="connsiteY4" fmla="*/ 295232 h 354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06247" h="354058">
                    <a:moveTo>
                      <a:pt x="906248" y="0"/>
                    </a:moveTo>
                    <a:lnTo>
                      <a:pt x="906248" y="354058"/>
                    </a:lnTo>
                    <a:lnTo>
                      <a:pt x="87436" y="354058"/>
                    </a:lnTo>
                    <a:lnTo>
                      <a:pt x="0" y="354058"/>
                    </a:lnTo>
                    <a:lnTo>
                      <a:pt x="0" y="295232"/>
                    </a:lnTo>
                  </a:path>
                </a:pathLst>
              </a:custGeom>
              <a:noFill/>
              <a:ln w="12700" cap="flat">
                <a:solidFill>
                  <a:srgbClr val="1D1D1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18" name="Freihandform 717">
                <a:extLst>
                  <a:ext uri="{FF2B5EF4-FFF2-40B4-BE49-F238E27FC236}">
                    <a16:creationId xmlns:a16="http://schemas.microsoft.com/office/drawing/2014/main" id="{8C0C9266-9EC6-0242-95E9-27AA53897291}"/>
                  </a:ext>
                </a:extLst>
              </p:cNvPr>
              <p:cNvSpPr/>
              <p:nvPr/>
            </p:nvSpPr>
            <p:spPr>
              <a:xfrm>
                <a:off x="5936388" y="987790"/>
                <a:ext cx="730280" cy="311953"/>
              </a:xfrm>
              <a:custGeom>
                <a:avLst/>
                <a:gdLst>
                  <a:gd name="connsiteX0" fmla="*/ 278864 w 279292"/>
                  <a:gd name="connsiteY0" fmla="*/ 119306 h 119305"/>
                  <a:gd name="connsiteX1" fmla="*/ 0 w 279292"/>
                  <a:gd name="connsiteY1" fmla="*/ 119306 h 119305"/>
                  <a:gd name="connsiteX2" fmla="*/ 0 w 279292"/>
                  <a:gd name="connsiteY2" fmla="*/ 78256 h 119305"/>
                  <a:gd name="connsiteX3" fmla="*/ 79120 w 279292"/>
                  <a:gd name="connsiteY3" fmla="*/ 1 h 119305"/>
                  <a:gd name="connsiteX4" fmla="*/ 79431 w 279292"/>
                  <a:gd name="connsiteY4" fmla="*/ 4 h 119305"/>
                  <a:gd name="connsiteX5" fmla="*/ 199861 w 279292"/>
                  <a:gd name="connsiteY5" fmla="*/ 4 h 119305"/>
                  <a:gd name="connsiteX6" fmla="*/ 279292 w 279292"/>
                  <a:gd name="connsiteY6" fmla="*/ 78068 h 119305"/>
                  <a:gd name="connsiteX7" fmla="*/ 279292 w 279292"/>
                  <a:gd name="connsiteY7" fmla="*/ 78256 h 119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9292" h="119305">
                    <a:moveTo>
                      <a:pt x="278864" y="119306"/>
                    </a:moveTo>
                    <a:lnTo>
                      <a:pt x="0" y="119306"/>
                    </a:lnTo>
                    <a:lnTo>
                      <a:pt x="0" y="78256"/>
                    </a:lnTo>
                    <a:cubicBezTo>
                      <a:pt x="232" y="34803"/>
                      <a:pt x="35658" y="-233"/>
                      <a:pt x="79120" y="1"/>
                    </a:cubicBezTo>
                    <a:cubicBezTo>
                      <a:pt x="79223" y="2"/>
                      <a:pt x="79327" y="2"/>
                      <a:pt x="79431" y="4"/>
                    </a:cubicBezTo>
                    <a:lnTo>
                      <a:pt x="199861" y="4"/>
                    </a:lnTo>
                    <a:cubicBezTo>
                      <a:pt x="243359" y="-368"/>
                      <a:pt x="278919" y="34582"/>
                      <a:pt x="279292" y="78068"/>
                    </a:cubicBezTo>
                    <a:cubicBezTo>
                      <a:pt x="279292" y="78130"/>
                      <a:pt x="279292" y="78193"/>
                      <a:pt x="279292" y="78256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19" name="Freihandform 718">
                <a:extLst>
                  <a:ext uri="{FF2B5EF4-FFF2-40B4-BE49-F238E27FC236}">
                    <a16:creationId xmlns:a16="http://schemas.microsoft.com/office/drawing/2014/main" id="{08227DE2-8010-9C45-9D4C-9C30EB4B19DB}"/>
                  </a:ext>
                </a:extLst>
              </p:cNvPr>
              <p:cNvSpPr/>
              <p:nvPr/>
            </p:nvSpPr>
            <p:spPr>
              <a:xfrm>
                <a:off x="5933512" y="1214772"/>
                <a:ext cx="731556" cy="129219"/>
              </a:xfrm>
              <a:custGeom>
                <a:avLst/>
                <a:gdLst>
                  <a:gd name="connsiteX0" fmla="*/ 0 w 279780"/>
                  <a:gd name="connsiteY0" fmla="*/ 0 h 49419"/>
                  <a:gd name="connsiteX1" fmla="*/ 279781 w 279780"/>
                  <a:gd name="connsiteY1" fmla="*/ 0 h 49419"/>
                  <a:gd name="connsiteX2" fmla="*/ 279781 w 279780"/>
                  <a:gd name="connsiteY2" fmla="*/ 49419 h 49419"/>
                  <a:gd name="connsiteX3" fmla="*/ 0 w 279780"/>
                  <a:gd name="connsiteY3" fmla="*/ 49419 h 49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9780" h="49419">
                    <a:moveTo>
                      <a:pt x="0" y="0"/>
                    </a:moveTo>
                    <a:lnTo>
                      <a:pt x="279781" y="0"/>
                    </a:lnTo>
                    <a:lnTo>
                      <a:pt x="279781" y="49419"/>
                    </a:lnTo>
                    <a:lnTo>
                      <a:pt x="0" y="49419"/>
                    </a:lnTo>
                    <a:close/>
                  </a:path>
                </a:pathLst>
              </a:custGeom>
              <a:solidFill>
                <a:srgbClr val="C11B1A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20" name="Freihandform 719">
                <a:extLst>
                  <a:ext uri="{FF2B5EF4-FFF2-40B4-BE49-F238E27FC236}">
                    <a16:creationId xmlns:a16="http://schemas.microsoft.com/office/drawing/2014/main" id="{46FEDD74-6F79-E943-812C-59AE31D97468}"/>
                  </a:ext>
                </a:extLst>
              </p:cNvPr>
              <p:cNvSpPr/>
              <p:nvPr/>
            </p:nvSpPr>
            <p:spPr>
              <a:xfrm>
                <a:off x="4278681" y="2096190"/>
                <a:ext cx="84514" cy="191625"/>
              </a:xfrm>
              <a:custGeom>
                <a:avLst/>
                <a:gdLst>
                  <a:gd name="connsiteX0" fmla="*/ 16192 w 32322"/>
                  <a:gd name="connsiteY0" fmla="*/ 73286 h 73286"/>
                  <a:gd name="connsiteX1" fmla="*/ 16192 w 32322"/>
                  <a:gd name="connsiteY1" fmla="*/ 73286 h 73286"/>
                  <a:gd name="connsiteX2" fmla="*/ 0 w 32322"/>
                  <a:gd name="connsiteY2" fmla="*/ 57343 h 73286"/>
                  <a:gd name="connsiteX3" fmla="*/ 0 w 32322"/>
                  <a:gd name="connsiteY3" fmla="*/ 57343 h 73286"/>
                  <a:gd name="connsiteX4" fmla="*/ 0 w 32322"/>
                  <a:gd name="connsiteY4" fmla="*/ 15193 h 73286"/>
                  <a:gd name="connsiteX5" fmla="*/ 17157 w 32322"/>
                  <a:gd name="connsiteY5" fmla="*/ 31 h 73286"/>
                  <a:gd name="connsiteX6" fmla="*/ 32322 w 32322"/>
                  <a:gd name="connsiteY6" fmla="*/ 15193 h 73286"/>
                  <a:gd name="connsiteX7" fmla="*/ 32322 w 32322"/>
                  <a:gd name="connsiteY7" fmla="*/ 57343 h 73286"/>
                  <a:gd name="connsiteX8" fmla="*/ 16253 w 32322"/>
                  <a:gd name="connsiteY8" fmla="*/ 73286 h 73286"/>
                  <a:gd name="connsiteX9" fmla="*/ 16192 w 32322"/>
                  <a:gd name="connsiteY9" fmla="*/ 73286 h 73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2322" h="73286">
                    <a:moveTo>
                      <a:pt x="16192" y="73286"/>
                    </a:moveTo>
                    <a:lnTo>
                      <a:pt x="16192" y="73286"/>
                    </a:lnTo>
                    <a:cubicBezTo>
                      <a:pt x="7320" y="73354"/>
                      <a:pt x="67" y="66219"/>
                      <a:pt x="0" y="57343"/>
                    </a:cubicBezTo>
                    <a:cubicBezTo>
                      <a:pt x="0" y="57343"/>
                      <a:pt x="0" y="57343"/>
                      <a:pt x="0" y="57343"/>
                    </a:cubicBezTo>
                    <a:lnTo>
                      <a:pt x="0" y="15193"/>
                    </a:lnTo>
                    <a:cubicBezTo>
                      <a:pt x="550" y="6268"/>
                      <a:pt x="8230" y="-519"/>
                      <a:pt x="17157" y="31"/>
                    </a:cubicBezTo>
                    <a:cubicBezTo>
                      <a:pt x="25314" y="532"/>
                      <a:pt x="31821" y="7038"/>
                      <a:pt x="32322" y="15193"/>
                    </a:cubicBezTo>
                    <a:lnTo>
                      <a:pt x="32322" y="57343"/>
                    </a:lnTo>
                    <a:cubicBezTo>
                      <a:pt x="32286" y="66182"/>
                      <a:pt x="25094" y="73323"/>
                      <a:pt x="16253" y="73286"/>
                    </a:cubicBezTo>
                    <a:cubicBezTo>
                      <a:pt x="16234" y="73286"/>
                      <a:pt x="16210" y="73286"/>
                      <a:pt x="16192" y="73286"/>
                    </a:cubicBezTo>
                  </a:path>
                </a:pathLst>
              </a:custGeom>
              <a:solidFill>
                <a:srgbClr val="F1CABB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721" name="Grafik 5">
                <a:extLst>
                  <a:ext uri="{FF2B5EF4-FFF2-40B4-BE49-F238E27FC236}">
                    <a16:creationId xmlns:a16="http://schemas.microsoft.com/office/drawing/2014/main" id="{01F64615-F1D9-774E-A8BB-73E04D30BE4A}"/>
                  </a:ext>
                </a:extLst>
              </p:cNvPr>
              <p:cNvGrpSpPr/>
              <p:nvPr/>
            </p:nvGrpSpPr>
            <p:grpSpPr>
              <a:xfrm>
                <a:off x="5322417" y="1853995"/>
                <a:ext cx="662858" cy="433822"/>
                <a:chOff x="-1869424" y="367072"/>
                <a:chExt cx="253507" cy="165913"/>
              </a:xfrm>
            </p:grpSpPr>
            <p:sp>
              <p:nvSpPr>
                <p:cNvPr id="744" name="Freihandform 743">
                  <a:extLst>
                    <a:ext uri="{FF2B5EF4-FFF2-40B4-BE49-F238E27FC236}">
                      <a16:creationId xmlns:a16="http://schemas.microsoft.com/office/drawing/2014/main" id="{21C683AF-4537-A349-98FA-36AA672547BE}"/>
                    </a:ext>
                  </a:extLst>
                </p:cNvPr>
                <p:cNvSpPr/>
                <p:nvPr/>
              </p:nvSpPr>
              <p:spPr>
                <a:xfrm>
                  <a:off x="-1675857" y="459698"/>
                  <a:ext cx="32322" cy="73286"/>
                </a:xfrm>
                <a:custGeom>
                  <a:avLst/>
                  <a:gdLst>
                    <a:gd name="connsiteX0" fmla="*/ 16131 w 32322"/>
                    <a:gd name="connsiteY0" fmla="*/ 73286 h 73286"/>
                    <a:gd name="connsiteX1" fmla="*/ 16131 w 32322"/>
                    <a:gd name="connsiteY1" fmla="*/ 73286 h 73286"/>
                    <a:gd name="connsiteX2" fmla="*/ 0 w 32322"/>
                    <a:gd name="connsiteY2" fmla="*/ 57404 h 73286"/>
                    <a:gd name="connsiteX3" fmla="*/ 0 w 32322"/>
                    <a:gd name="connsiteY3" fmla="*/ 57343 h 73286"/>
                    <a:gd name="connsiteX4" fmla="*/ 0 w 32322"/>
                    <a:gd name="connsiteY4" fmla="*/ 15193 h 73286"/>
                    <a:gd name="connsiteX5" fmla="*/ 17157 w 32322"/>
                    <a:gd name="connsiteY5" fmla="*/ 31 h 73286"/>
                    <a:gd name="connsiteX6" fmla="*/ 32322 w 32322"/>
                    <a:gd name="connsiteY6" fmla="*/ 15193 h 73286"/>
                    <a:gd name="connsiteX7" fmla="*/ 32322 w 32322"/>
                    <a:gd name="connsiteY7" fmla="*/ 57343 h 73286"/>
                    <a:gd name="connsiteX8" fmla="*/ 16131 w 32322"/>
                    <a:gd name="connsiteY8" fmla="*/ 73286 h 73286"/>
                    <a:gd name="connsiteX9" fmla="*/ 16131 w 32322"/>
                    <a:gd name="connsiteY9" fmla="*/ 73286 h 732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2322" h="73286">
                      <a:moveTo>
                        <a:pt x="16131" y="73286"/>
                      </a:moveTo>
                      <a:lnTo>
                        <a:pt x="16131" y="73286"/>
                      </a:lnTo>
                      <a:cubicBezTo>
                        <a:pt x="7289" y="73354"/>
                        <a:pt x="67" y="66243"/>
                        <a:pt x="0" y="57404"/>
                      </a:cubicBezTo>
                      <a:cubicBezTo>
                        <a:pt x="0" y="57386"/>
                        <a:pt x="0" y="57361"/>
                        <a:pt x="0" y="57343"/>
                      </a:cubicBezTo>
                      <a:lnTo>
                        <a:pt x="0" y="15193"/>
                      </a:lnTo>
                      <a:cubicBezTo>
                        <a:pt x="550" y="6268"/>
                        <a:pt x="8230" y="-519"/>
                        <a:pt x="17157" y="31"/>
                      </a:cubicBezTo>
                      <a:cubicBezTo>
                        <a:pt x="25314" y="532"/>
                        <a:pt x="31821" y="7038"/>
                        <a:pt x="32322" y="15193"/>
                      </a:cubicBezTo>
                      <a:lnTo>
                        <a:pt x="32322" y="57343"/>
                      </a:lnTo>
                      <a:cubicBezTo>
                        <a:pt x="32255" y="66213"/>
                        <a:pt x="25009" y="73354"/>
                        <a:pt x="16131" y="73286"/>
                      </a:cubicBezTo>
                      <a:cubicBezTo>
                        <a:pt x="16131" y="73286"/>
                        <a:pt x="16131" y="73286"/>
                        <a:pt x="16131" y="73286"/>
                      </a:cubicBezTo>
                    </a:path>
                  </a:pathLst>
                </a:custGeom>
                <a:solidFill>
                  <a:srgbClr val="C11B1A"/>
                </a:solidFill>
                <a:ln w="609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5" name="Freihandform 744">
                  <a:extLst>
                    <a:ext uri="{FF2B5EF4-FFF2-40B4-BE49-F238E27FC236}">
                      <a16:creationId xmlns:a16="http://schemas.microsoft.com/office/drawing/2014/main" id="{DB76EEE7-837C-834D-B488-0ECB300C841E}"/>
                    </a:ext>
                  </a:extLst>
                </p:cNvPr>
                <p:cNvSpPr/>
                <p:nvPr/>
              </p:nvSpPr>
              <p:spPr>
                <a:xfrm>
                  <a:off x="-1841746" y="422784"/>
                  <a:ext cx="198394" cy="84788"/>
                </a:xfrm>
                <a:custGeom>
                  <a:avLst/>
                  <a:gdLst>
                    <a:gd name="connsiteX0" fmla="*/ 0 w 198394"/>
                    <a:gd name="connsiteY0" fmla="*/ 0 h 84788"/>
                    <a:gd name="connsiteX1" fmla="*/ 198394 w 198394"/>
                    <a:gd name="connsiteY1" fmla="*/ 0 h 84788"/>
                    <a:gd name="connsiteX2" fmla="*/ 198394 w 198394"/>
                    <a:gd name="connsiteY2" fmla="*/ 51007 h 84788"/>
                    <a:gd name="connsiteX3" fmla="*/ 164178 w 198394"/>
                    <a:gd name="connsiteY3" fmla="*/ 84788 h 84788"/>
                    <a:gd name="connsiteX4" fmla="*/ 34217 w 198394"/>
                    <a:gd name="connsiteY4" fmla="*/ 84788 h 84788"/>
                    <a:gd name="connsiteX5" fmla="*/ 0 w 198394"/>
                    <a:gd name="connsiteY5" fmla="*/ 51007 h 847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98394" h="84788">
                      <a:moveTo>
                        <a:pt x="0" y="0"/>
                      </a:moveTo>
                      <a:lnTo>
                        <a:pt x="198394" y="0"/>
                      </a:lnTo>
                      <a:lnTo>
                        <a:pt x="198394" y="51007"/>
                      </a:lnTo>
                      <a:cubicBezTo>
                        <a:pt x="198260" y="69773"/>
                        <a:pt x="182948" y="84892"/>
                        <a:pt x="164178" y="84788"/>
                      </a:cubicBezTo>
                      <a:lnTo>
                        <a:pt x="34217" y="84788"/>
                      </a:lnTo>
                      <a:cubicBezTo>
                        <a:pt x="15446" y="84892"/>
                        <a:pt x="134" y="69773"/>
                        <a:pt x="0" y="51007"/>
                      </a:cubicBezTo>
                      <a:close/>
                    </a:path>
                  </a:pathLst>
                </a:custGeom>
                <a:solidFill>
                  <a:srgbClr val="C11B1A"/>
                </a:solidFill>
                <a:ln w="609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6" name="Freihandform 745">
                  <a:extLst>
                    <a:ext uri="{FF2B5EF4-FFF2-40B4-BE49-F238E27FC236}">
                      <a16:creationId xmlns:a16="http://schemas.microsoft.com/office/drawing/2014/main" id="{8B74D513-F42F-D04B-B2B2-757F51C3A880}"/>
                    </a:ext>
                  </a:extLst>
                </p:cNvPr>
                <p:cNvSpPr/>
                <p:nvPr/>
              </p:nvSpPr>
              <p:spPr>
                <a:xfrm>
                  <a:off x="-1841746" y="367072"/>
                  <a:ext cx="198394" cy="97739"/>
                </a:xfrm>
                <a:custGeom>
                  <a:avLst/>
                  <a:gdLst>
                    <a:gd name="connsiteX0" fmla="*/ 198394 w 198394"/>
                    <a:gd name="connsiteY0" fmla="*/ 97740 h 97739"/>
                    <a:gd name="connsiteX1" fmla="*/ 0 w 198394"/>
                    <a:gd name="connsiteY1" fmla="*/ 97740 h 97739"/>
                    <a:gd name="connsiteX2" fmla="*/ 0 w 198394"/>
                    <a:gd name="connsiteY2" fmla="*/ 55712 h 97739"/>
                    <a:gd name="connsiteX3" fmla="*/ 56335 w 198394"/>
                    <a:gd name="connsiteY3" fmla="*/ 1 h 97739"/>
                    <a:gd name="connsiteX4" fmla="*/ 56396 w 198394"/>
                    <a:gd name="connsiteY4" fmla="*/ 1 h 97739"/>
                    <a:gd name="connsiteX5" fmla="*/ 141937 w 198394"/>
                    <a:gd name="connsiteY5" fmla="*/ 1 h 97739"/>
                    <a:gd name="connsiteX6" fmla="*/ 198333 w 198394"/>
                    <a:gd name="connsiteY6" fmla="*/ 55651 h 97739"/>
                    <a:gd name="connsiteX7" fmla="*/ 198333 w 198394"/>
                    <a:gd name="connsiteY7" fmla="*/ 55712 h 977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98394" h="97739">
                      <a:moveTo>
                        <a:pt x="198394" y="97740"/>
                      </a:moveTo>
                      <a:lnTo>
                        <a:pt x="0" y="97740"/>
                      </a:lnTo>
                      <a:lnTo>
                        <a:pt x="0" y="55712"/>
                      </a:lnTo>
                      <a:cubicBezTo>
                        <a:pt x="165" y="24778"/>
                        <a:pt x="25387" y="-170"/>
                        <a:pt x="56335" y="1"/>
                      </a:cubicBezTo>
                      <a:cubicBezTo>
                        <a:pt x="56353" y="1"/>
                        <a:pt x="56378" y="1"/>
                        <a:pt x="56396" y="1"/>
                      </a:cubicBezTo>
                      <a:lnTo>
                        <a:pt x="141937" y="1"/>
                      </a:lnTo>
                      <a:cubicBezTo>
                        <a:pt x="172879" y="-200"/>
                        <a:pt x="198132" y="24711"/>
                        <a:pt x="198333" y="55651"/>
                      </a:cubicBezTo>
                      <a:cubicBezTo>
                        <a:pt x="198333" y="55670"/>
                        <a:pt x="198333" y="55694"/>
                        <a:pt x="198333" y="55712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609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7" name="Freihandform 746">
                  <a:extLst>
                    <a:ext uri="{FF2B5EF4-FFF2-40B4-BE49-F238E27FC236}">
                      <a16:creationId xmlns:a16="http://schemas.microsoft.com/office/drawing/2014/main" id="{AC39B432-5994-304E-93CF-62F49207BC7F}"/>
                    </a:ext>
                  </a:extLst>
                </p:cNvPr>
                <p:cNvSpPr/>
                <p:nvPr/>
              </p:nvSpPr>
              <p:spPr>
                <a:xfrm>
                  <a:off x="-1869424" y="411239"/>
                  <a:ext cx="253507" cy="22724"/>
                </a:xfrm>
                <a:custGeom>
                  <a:avLst/>
                  <a:gdLst>
                    <a:gd name="connsiteX0" fmla="*/ 242143 w 253507"/>
                    <a:gd name="connsiteY0" fmla="*/ 22724 h 22724"/>
                    <a:gd name="connsiteX1" fmla="*/ 11365 w 253507"/>
                    <a:gd name="connsiteY1" fmla="*/ 22724 h 22724"/>
                    <a:gd name="connsiteX2" fmla="*/ 0 w 253507"/>
                    <a:gd name="connsiteY2" fmla="*/ 11362 h 22724"/>
                    <a:gd name="connsiteX3" fmla="*/ 11365 w 253507"/>
                    <a:gd name="connsiteY3" fmla="*/ 0 h 22724"/>
                    <a:gd name="connsiteX4" fmla="*/ 242143 w 253507"/>
                    <a:gd name="connsiteY4" fmla="*/ 0 h 22724"/>
                    <a:gd name="connsiteX5" fmla="*/ 253507 w 253507"/>
                    <a:gd name="connsiteY5" fmla="*/ 11362 h 22724"/>
                    <a:gd name="connsiteX6" fmla="*/ 242143 w 253507"/>
                    <a:gd name="connsiteY6" fmla="*/ 22724 h 22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3507" h="22724">
                      <a:moveTo>
                        <a:pt x="242143" y="22724"/>
                      </a:moveTo>
                      <a:lnTo>
                        <a:pt x="11365" y="22724"/>
                      </a:lnTo>
                      <a:cubicBezTo>
                        <a:pt x="5090" y="22724"/>
                        <a:pt x="0" y="17636"/>
                        <a:pt x="0" y="11362"/>
                      </a:cubicBezTo>
                      <a:cubicBezTo>
                        <a:pt x="0" y="5089"/>
                        <a:pt x="5090" y="0"/>
                        <a:pt x="11365" y="0"/>
                      </a:cubicBezTo>
                      <a:lnTo>
                        <a:pt x="242143" y="0"/>
                      </a:lnTo>
                      <a:cubicBezTo>
                        <a:pt x="248418" y="0"/>
                        <a:pt x="253507" y="5089"/>
                        <a:pt x="253507" y="11362"/>
                      </a:cubicBezTo>
                      <a:cubicBezTo>
                        <a:pt x="253507" y="17636"/>
                        <a:pt x="248418" y="22724"/>
                        <a:pt x="242143" y="22724"/>
                      </a:cubicBezTo>
                    </a:path>
                  </a:pathLst>
                </a:custGeom>
                <a:solidFill>
                  <a:schemeClr val="tx1"/>
                </a:solidFill>
                <a:ln w="609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8" name="Freihandform 747">
                  <a:extLst>
                    <a:ext uri="{FF2B5EF4-FFF2-40B4-BE49-F238E27FC236}">
                      <a16:creationId xmlns:a16="http://schemas.microsoft.com/office/drawing/2014/main" id="{5850B373-8FA5-664C-9A8B-4ABB2352748B}"/>
                    </a:ext>
                  </a:extLst>
                </p:cNvPr>
                <p:cNvSpPr/>
                <p:nvPr/>
              </p:nvSpPr>
              <p:spPr>
                <a:xfrm>
                  <a:off x="-1814006" y="398838"/>
                  <a:ext cx="142914" cy="62003"/>
                </a:xfrm>
                <a:custGeom>
                  <a:avLst/>
                  <a:gdLst>
                    <a:gd name="connsiteX0" fmla="*/ 142915 w 142914"/>
                    <a:gd name="connsiteY0" fmla="*/ 62004 h 62003"/>
                    <a:gd name="connsiteX1" fmla="*/ 0 w 142914"/>
                    <a:gd name="connsiteY1" fmla="*/ 62004 h 62003"/>
                    <a:gd name="connsiteX2" fmla="*/ 0 w 142914"/>
                    <a:gd name="connsiteY2" fmla="*/ 32315 h 62003"/>
                    <a:gd name="connsiteX3" fmla="*/ 32750 w 142914"/>
                    <a:gd name="connsiteY3" fmla="*/ 1 h 62003"/>
                    <a:gd name="connsiteX4" fmla="*/ 110165 w 142914"/>
                    <a:gd name="connsiteY4" fmla="*/ 1 h 62003"/>
                    <a:gd name="connsiteX5" fmla="*/ 142915 w 142914"/>
                    <a:gd name="connsiteY5" fmla="*/ 32315 h 620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42914" h="62003">
                      <a:moveTo>
                        <a:pt x="142915" y="62004"/>
                      </a:moveTo>
                      <a:lnTo>
                        <a:pt x="0" y="62004"/>
                      </a:lnTo>
                      <a:lnTo>
                        <a:pt x="0" y="32315"/>
                      </a:lnTo>
                      <a:cubicBezTo>
                        <a:pt x="134" y="14356"/>
                        <a:pt x="14786" y="-103"/>
                        <a:pt x="32750" y="1"/>
                      </a:cubicBezTo>
                      <a:lnTo>
                        <a:pt x="110165" y="1"/>
                      </a:lnTo>
                      <a:cubicBezTo>
                        <a:pt x="128129" y="-103"/>
                        <a:pt x="142781" y="14356"/>
                        <a:pt x="142915" y="32315"/>
                      </a:cubicBezTo>
                      <a:close/>
                    </a:path>
                  </a:pathLst>
                </a:custGeom>
                <a:solidFill>
                  <a:srgbClr val="9D9D9C"/>
                </a:solidFill>
                <a:ln w="609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722" name="Freihandform 721">
                <a:extLst>
                  <a:ext uri="{FF2B5EF4-FFF2-40B4-BE49-F238E27FC236}">
                    <a16:creationId xmlns:a16="http://schemas.microsoft.com/office/drawing/2014/main" id="{7A672FA7-FFE8-7E41-8681-A52133C60895}"/>
                  </a:ext>
                </a:extLst>
              </p:cNvPr>
              <p:cNvSpPr/>
              <p:nvPr/>
            </p:nvSpPr>
            <p:spPr>
              <a:xfrm>
                <a:off x="5452943" y="2148853"/>
                <a:ext cx="444780" cy="15971"/>
              </a:xfrm>
              <a:custGeom>
                <a:avLst/>
                <a:gdLst>
                  <a:gd name="connsiteX0" fmla="*/ 0 w 170104"/>
                  <a:gd name="connsiteY0" fmla="*/ 0 h 6108"/>
                  <a:gd name="connsiteX1" fmla="*/ 170105 w 170104"/>
                  <a:gd name="connsiteY1" fmla="*/ 0 h 6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0104" h="6108">
                    <a:moveTo>
                      <a:pt x="0" y="0"/>
                    </a:moveTo>
                    <a:lnTo>
                      <a:pt x="170105" y="0"/>
                    </a:lnTo>
                  </a:path>
                </a:pathLst>
              </a:custGeom>
              <a:ln w="31750" cap="flat">
                <a:solidFill>
                  <a:srgbClr val="1D1D1B"/>
                </a:solidFill>
                <a:prstDash val="sysDash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723" name="Grafik 5">
                <a:extLst>
                  <a:ext uri="{FF2B5EF4-FFF2-40B4-BE49-F238E27FC236}">
                    <a16:creationId xmlns:a16="http://schemas.microsoft.com/office/drawing/2014/main" id="{5985C491-C7A4-D347-A389-14ACA4B8B933}"/>
                  </a:ext>
                </a:extLst>
              </p:cNvPr>
              <p:cNvGrpSpPr/>
              <p:nvPr/>
            </p:nvGrpSpPr>
            <p:grpSpPr>
              <a:xfrm>
                <a:off x="3772548" y="1853995"/>
                <a:ext cx="663018" cy="367373"/>
                <a:chOff x="-2462164" y="367072"/>
                <a:chExt cx="253568" cy="140500"/>
              </a:xfrm>
            </p:grpSpPr>
            <p:sp>
              <p:nvSpPr>
                <p:cNvPr id="740" name="Freihandform 739">
                  <a:extLst>
                    <a:ext uri="{FF2B5EF4-FFF2-40B4-BE49-F238E27FC236}">
                      <a16:creationId xmlns:a16="http://schemas.microsoft.com/office/drawing/2014/main" id="{FD48CF4C-E460-E54F-857E-06BE7E5AEB14}"/>
                    </a:ext>
                  </a:extLst>
                </p:cNvPr>
                <p:cNvSpPr/>
                <p:nvPr/>
              </p:nvSpPr>
              <p:spPr>
                <a:xfrm>
                  <a:off x="-2434424" y="422784"/>
                  <a:ext cx="198333" cy="84788"/>
                </a:xfrm>
                <a:custGeom>
                  <a:avLst/>
                  <a:gdLst>
                    <a:gd name="connsiteX0" fmla="*/ 0 w 198333"/>
                    <a:gd name="connsiteY0" fmla="*/ 0 h 84788"/>
                    <a:gd name="connsiteX1" fmla="*/ 198333 w 198333"/>
                    <a:gd name="connsiteY1" fmla="*/ 0 h 84788"/>
                    <a:gd name="connsiteX2" fmla="*/ 198333 w 198333"/>
                    <a:gd name="connsiteY2" fmla="*/ 51007 h 84788"/>
                    <a:gd name="connsiteX3" fmla="*/ 164178 w 198333"/>
                    <a:gd name="connsiteY3" fmla="*/ 84788 h 84788"/>
                    <a:gd name="connsiteX4" fmla="*/ 164178 w 198333"/>
                    <a:gd name="connsiteY4" fmla="*/ 84788 h 84788"/>
                    <a:gd name="connsiteX5" fmla="*/ 34155 w 198333"/>
                    <a:gd name="connsiteY5" fmla="*/ 84788 h 84788"/>
                    <a:gd name="connsiteX6" fmla="*/ 0 w 198333"/>
                    <a:gd name="connsiteY6" fmla="*/ 51007 h 84788"/>
                    <a:gd name="connsiteX7" fmla="*/ 0 w 198333"/>
                    <a:gd name="connsiteY7" fmla="*/ 51007 h 847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98333" h="84788">
                      <a:moveTo>
                        <a:pt x="0" y="0"/>
                      </a:moveTo>
                      <a:lnTo>
                        <a:pt x="198333" y="0"/>
                      </a:lnTo>
                      <a:lnTo>
                        <a:pt x="198333" y="51007"/>
                      </a:lnTo>
                      <a:cubicBezTo>
                        <a:pt x="198229" y="69767"/>
                        <a:pt x="182942" y="84892"/>
                        <a:pt x="164178" y="84788"/>
                      </a:cubicBezTo>
                      <a:cubicBezTo>
                        <a:pt x="164178" y="84788"/>
                        <a:pt x="164178" y="84788"/>
                        <a:pt x="164178" y="84788"/>
                      </a:cubicBezTo>
                      <a:lnTo>
                        <a:pt x="34155" y="84788"/>
                      </a:lnTo>
                      <a:cubicBezTo>
                        <a:pt x="15391" y="84892"/>
                        <a:pt x="104" y="69767"/>
                        <a:pt x="0" y="51007"/>
                      </a:cubicBezTo>
                      <a:cubicBezTo>
                        <a:pt x="0" y="51007"/>
                        <a:pt x="0" y="51007"/>
                        <a:pt x="0" y="51007"/>
                      </a:cubicBezTo>
                      <a:close/>
                    </a:path>
                  </a:pathLst>
                </a:custGeom>
                <a:solidFill>
                  <a:srgbClr val="F1CABB"/>
                </a:solidFill>
                <a:ln w="609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1" name="Freihandform 740">
                  <a:extLst>
                    <a:ext uri="{FF2B5EF4-FFF2-40B4-BE49-F238E27FC236}">
                      <a16:creationId xmlns:a16="http://schemas.microsoft.com/office/drawing/2014/main" id="{50BC2331-3D5B-114F-9572-5727AE43F081}"/>
                    </a:ext>
                  </a:extLst>
                </p:cNvPr>
                <p:cNvSpPr/>
                <p:nvPr/>
              </p:nvSpPr>
              <p:spPr>
                <a:xfrm>
                  <a:off x="-2434485" y="367072"/>
                  <a:ext cx="198394" cy="97739"/>
                </a:xfrm>
                <a:custGeom>
                  <a:avLst/>
                  <a:gdLst>
                    <a:gd name="connsiteX0" fmla="*/ 198394 w 198394"/>
                    <a:gd name="connsiteY0" fmla="*/ 97740 h 97739"/>
                    <a:gd name="connsiteX1" fmla="*/ 0 w 198394"/>
                    <a:gd name="connsiteY1" fmla="*/ 97740 h 97739"/>
                    <a:gd name="connsiteX2" fmla="*/ 0 w 198394"/>
                    <a:gd name="connsiteY2" fmla="*/ 55712 h 97739"/>
                    <a:gd name="connsiteX3" fmla="*/ 56396 w 198394"/>
                    <a:gd name="connsiteY3" fmla="*/ 1 h 97739"/>
                    <a:gd name="connsiteX4" fmla="*/ 141937 w 198394"/>
                    <a:gd name="connsiteY4" fmla="*/ 1 h 97739"/>
                    <a:gd name="connsiteX5" fmla="*/ 198272 w 198394"/>
                    <a:gd name="connsiteY5" fmla="*/ 55712 h 97739"/>
                    <a:gd name="connsiteX6" fmla="*/ 198272 w 198394"/>
                    <a:gd name="connsiteY6" fmla="*/ 55712 h 977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98394" h="97739">
                      <a:moveTo>
                        <a:pt x="198394" y="97740"/>
                      </a:moveTo>
                      <a:lnTo>
                        <a:pt x="0" y="97740"/>
                      </a:lnTo>
                      <a:lnTo>
                        <a:pt x="0" y="55712"/>
                      </a:lnTo>
                      <a:cubicBezTo>
                        <a:pt x="202" y="24765"/>
                        <a:pt x="25442" y="-170"/>
                        <a:pt x="56396" y="1"/>
                      </a:cubicBezTo>
                      <a:lnTo>
                        <a:pt x="141937" y="1"/>
                      </a:lnTo>
                      <a:cubicBezTo>
                        <a:pt x="172879" y="-170"/>
                        <a:pt x="198101" y="24772"/>
                        <a:pt x="198272" y="55712"/>
                      </a:cubicBezTo>
                      <a:cubicBezTo>
                        <a:pt x="198272" y="55712"/>
                        <a:pt x="198272" y="55712"/>
                        <a:pt x="198272" y="55712"/>
                      </a:cubicBez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609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2" name="Freihandform 741">
                  <a:extLst>
                    <a:ext uri="{FF2B5EF4-FFF2-40B4-BE49-F238E27FC236}">
                      <a16:creationId xmlns:a16="http://schemas.microsoft.com/office/drawing/2014/main" id="{9828A408-3337-6F43-9CEE-E110F86A4C05}"/>
                    </a:ext>
                  </a:extLst>
                </p:cNvPr>
                <p:cNvSpPr/>
                <p:nvPr/>
              </p:nvSpPr>
              <p:spPr>
                <a:xfrm>
                  <a:off x="-2462164" y="411239"/>
                  <a:ext cx="253568" cy="22724"/>
                </a:xfrm>
                <a:custGeom>
                  <a:avLst/>
                  <a:gdLst>
                    <a:gd name="connsiteX0" fmla="*/ 242204 w 253568"/>
                    <a:gd name="connsiteY0" fmla="*/ 22724 h 22724"/>
                    <a:gd name="connsiteX1" fmla="*/ 11365 w 253568"/>
                    <a:gd name="connsiteY1" fmla="*/ 22724 h 22724"/>
                    <a:gd name="connsiteX2" fmla="*/ 0 w 253568"/>
                    <a:gd name="connsiteY2" fmla="*/ 11362 h 22724"/>
                    <a:gd name="connsiteX3" fmla="*/ 11365 w 253568"/>
                    <a:gd name="connsiteY3" fmla="*/ 0 h 22724"/>
                    <a:gd name="connsiteX4" fmla="*/ 242204 w 253568"/>
                    <a:gd name="connsiteY4" fmla="*/ 0 h 22724"/>
                    <a:gd name="connsiteX5" fmla="*/ 253568 w 253568"/>
                    <a:gd name="connsiteY5" fmla="*/ 11362 h 22724"/>
                    <a:gd name="connsiteX6" fmla="*/ 242204 w 253568"/>
                    <a:gd name="connsiteY6" fmla="*/ 22724 h 22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3568" h="22724">
                      <a:moveTo>
                        <a:pt x="242204" y="22724"/>
                      </a:moveTo>
                      <a:lnTo>
                        <a:pt x="11365" y="22724"/>
                      </a:lnTo>
                      <a:cubicBezTo>
                        <a:pt x="5090" y="22724"/>
                        <a:pt x="0" y="17636"/>
                        <a:pt x="0" y="11362"/>
                      </a:cubicBezTo>
                      <a:cubicBezTo>
                        <a:pt x="0" y="5089"/>
                        <a:pt x="5090" y="0"/>
                        <a:pt x="11365" y="0"/>
                      </a:cubicBezTo>
                      <a:lnTo>
                        <a:pt x="242204" y="0"/>
                      </a:lnTo>
                      <a:cubicBezTo>
                        <a:pt x="248479" y="0"/>
                        <a:pt x="253568" y="5089"/>
                        <a:pt x="253568" y="11362"/>
                      </a:cubicBezTo>
                      <a:cubicBezTo>
                        <a:pt x="253568" y="17636"/>
                        <a:pt x="248479" y="22724"/>
                        <a:pt x="242204" y="22724"/>
                      </a:cubicBezTo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609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43" name="Freihandform 742">
                  <a:extLst>
                    <a:ext uri="{FF2B5EF4-FFF2-40B4-BE49-F238E27FC236}">
                      <a16:creationId xmlns:a16="http://schemas.microsoft.com/office/drawing/2014/main" id="{DB41CEB1-58B1-B54B-9D50-78C78373219F}"/>
                    </a:ext>
                  </a:extLst>
                </p:cNvPr>
                <p:cNvSpPr/>
                <p:nvPr/>
              </p:nvSpPr>
              <p:spPr>
                <a:xfrm>
                  <a:off x="-2406684" y="398838"/>
                  <a:ext cx="142853" cy="62003"/>
                </a:xfrm>
                <a:custGeom>
                  <a:avLst/>
                  <a:gdLst>
                    <a:gd name="connsiteX0" fmla="*/ 142854 w 142853"/>
                    <a:gd name="connsiteY0" fmla="*/ 62004 h 62003"/>
                    <a:gd name="connsiteX1" fmla="*/ 0 w 142853"/>
                    <a:gd name="connsiteY1" fmla="*/ 62004 h 62003"/>
                    <a:gd name="connsiteX2" fmla="*/ 0 w 142853"/>
                    <a:gd name="connsiteY2" fmla="*/ 32315 h 62003"/>
                    <a:gd name="connsiteX3" fmla="*/ 32689 w 142853"/>
                    <a:gd name="connsiteY3" fmla="*/ 1 h 62003"/>
                    <a:gd name="connsiteX4" fmla="*/ 32689 w 142853"/>
                    <a:gd name="connsiteY4" fmla="*/ 1 h 62003"/>
                    <a:gd name="connsiteX5" fmla="*/ 110165 w 142853"/>
                    <a:gd name="connsiteY5" fmla="*/ 1 h 62003"/>
                    <a:gd name="connsiteX6" fmla="*/ 142854 w 142853"/>
                    <a:gd name="connsiteY6" fmla="*/ 32315 h 62003"/>
                    <a:gd name="connsiteX7" fmla="*/ 142854 w 142853"/>
                    <a:gd name="connsiteY7" fmla="*/ 32315 h 620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42853" h="62003">
                      <a:moveTo>
                        <a:pt x="142854" y="62004"/>
                      </a:moveTo>
                      <a:lnTo>
                        <a:pt x="0" y="62004"/>
                      </a:lnTo>
                      <a:lnTo>
                        <a:pt x="0" y="32315"/>
                      </a:lnTo>
                      <a:cubicBezTo>
                        <a:pt x="104" y="14368"/>
                        <a:pt x="14737" y="-103"/>
                        <a:pt x="32689" y="1"/>
                      </a:cubicBezTo>
                      <a:cubicBezTo>
                        <a:pt x="32689" y="1"/>
                        <a:pt x="32689" y="1"/>
                        <a:pt x="32689" y="1"/>
                      </a:cubicBezTo>
                      <a:lnTo>
                        <a:pt x="110165" y="1"/>
                      </a:lnTo>
                      <a:cubicBezTo>
                        <a:pt x="128116" y="-103"/>
                        <a:pt x="142750" y="14368"/>
                        <a:pt x="142854" y="32315"/>
                      </a:cubicBezTo>
                      <a:cubicBezTo>
                        <a:pt x="142854" y="32315"/>
                        <a:pt x="142854" y="32315"/>
                        <a:pt x="142854" y="32315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609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 dirty="0"/>
                </a:p>
              </p:txBody>
            </p:sp>
          </p:grpSp>
          <p:sp>
            <p:nvSpPr>
              <p:cNvPr id="724" name="Freihandform 723">
                <a:extLst>
                  <a:ext uri="{FF2B5EF4-FFF2-40B4-BE49-F238E27FC236}">
                    <a16:creationId xmlns:a16="http://schemas.microsoft.com/office/drawing/2014/main" id="{D5E51474-76F9-7143-9328-EB11A4D65A8E}"/>
                  </a:ext>
                </a:extLst>
              </p:cNvPr>
              <p:cNvSpPr/>
              <p:nvPr/>
            </p:nvSpPr>
            <p:spPr>
              <a:xfrm>
                <a:off x="3903236" y="2148853"/>
                <a:ext cx="446218" cy="15971"/>
              </a:xfrm>
              <a:custGeom>
                <a:avLst/>
                <a:gdLst>
                  <a:gd name="connsiteX0" fmla="*/ 0 w 170654"/>
                  <a:gd name="connsiteY0" fmla="*/ 0 h 6108"/>
                  <a:gd name="connsiteX1" fmla="*/ 170655 w 170654"/>
                  <a:gd name="connsiteY1" fmla="*/ 0 h 6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0654" h="6108">
                    <a:moveTo>
                      <a:pt x="0" y="0"/>
                    </a:moveTo>
                    <a:lnTo>
                      <a:pt x="170655" y="0"/>
                    </a:lnTo>
                  </a:path>
                </a:pathLst>
              </a:custGeom>
              <a:ln w="31750" cap="flat">
                <a:solidFill>
                  <a:srgbClr val="C11B1A"/>
                </a:solidFill>
                <a:prstDash val="sysDash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725" name="Grafik 5">
                <a:extLst>
                  <a:ext uri="{FF2B5EF4-FFF2-40B4-BE49-F238E27FC236}">
                    <a16:creationId xmlns:a16="http://schemas.microsoft.com/office/drawing/2014/main" id="{AA9A44D4-7ECA-6A45-8AAB-97D99369A651}"/>
                  </a:ext>
                </a:extLst>
              </p:cNvPr>
              <p:cNvGrpSpPr/>
              <p:nvPr/>
            </p:nvGrpSpPr>
            <p:grpSpPr>
              <a:xfrm>
                <a:off x="4547564" y="1853995"/>
                <a:ext cx="663496" cy="367376"/>
                <a:chOff x="-2165763" y="367072"/>
                <a:chExt cx="253751" cy="140501"/>
              </a:xfrm>
            </p:grpSpPr>
            <p:sp>
              <p:nvSpPr>
                <p:cNvPr id="736" name="Freihandform 735">
                  <a:extLst>
                    <a:ext uri="{FF2B5EF4-FFF2-40B4-BE49-F238E27FC236}">
                      <a16:creationId xmlns:a16="http://schemas.microsoft.com/office/drawing/2014/main" id="{6EF7B0DD-F38F-4D43-B712-A98B1CB63FE6}"/>
                    </a:ext>
                  </a:extLst>
                </p:cNvPr>
                <p:cNvSpPr/>
                <p:nvPr/>
              </p:nvSpPr>
              <p:spPr>
                <a:xfrm>
                  <a:off x="-2138085" y="422784"/>
                  <a:ext cx="198394" cy="84789"/>
                </a:xfrm>
                <a:custGeom>
                  <a:avLst/>
                  <a:gdLst>
                    <a:gd name="connsiteX0" fmla="*/ 0 w 198394"/>
                    <a:gd name="connsiteY0" fmla="*/ 0 h 84789"/>
                    <a:gd name="connsiteX1" fmla="*/ 198394 w 198394"/>
                    <a:gd name="connsiteY1" fmla="*/ 0 h 84789"/>
                    <a:gd name="connsiteX2" fmla="*/ 198394 w 198394"/>
                    <a:gd name="connsiteY2" fmla="*/ 51007 h 84789"/>
                    <a:gd name="connsiteX3" fmla="*/ 164178 w 198394"/>
                    <a:gd name="connsiteY3" fmla="*/ 84788 h 84789"/>
                    <a:gd name="connsiteX4" fmla="*/ 34217 w 198394"/>
                    <a:gd name="connsiteY4" fmla="*/ 84788 h 84789"/>
                    <a:gd name="connsiteX5" fmla="*/ 0 w 198394"/>
                    <a:gd name="connsiteY5" fmla="*/ 51068 h 84789"/>
                    <a:gd name="connsiteX6" fmla="*/ 0 w 198394"/>
                    <a:gd name="connsiteY6" fmla="*/ 51007 h 847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98394" h="84789">
                      <a:moveTo>
                        <a:pt x="0" y="0"/>
                      </a:moveTo>
                      <a:lnTo>
                        <a:pt x="198394" y="0"/>
                      </a:lnTo>
                      <a:lnTo>
                        <a:pt x="198394" y="51007"/>
                      </a:lnTo>
                      <a:cubicBezTo>
                        <a:pt x="198260" y="69773"/>
                        <a:pt x="182948" y="84892"/>
                        <a:pt x="164178" y="84788"/>
                      </a:cubicBezTo>
                      <a:lnTo>
                        <a:pt x="34217" y="84788"/>
                      </a:lnTo>
                      <a:cubicBezTo>
                        <a:pt x="15452" y="84923"/>
                        <a:pt x="134" y="69828"/>
                        <a:pt x="0" y="51068"/>
                      </a:cubicBezTo>
                      <a:cubicBezTo>
                        <a:pt x="0" y="51050"/>
                        <a:pt x="0" y="51026"/>
                        <a:pt x="0" y="51007"/>
                      </a:cubicBezTo>
                      <a:close/>
                    </a:path>
                  </a:pathLst>
                </a:custGeom>
                <a:solidFill>
                  <a:srgbClr val="F1CABB"/>
                </a:solidFill>
                <a:ln w="609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7" name="Freihandform 736">
                  <a:extLst>
                    <a:ext uri="{FF2B5EF4-FFF2-40B4-BE49-F238E27FC236}">
                      <a16:creationId xmlns:a16="http://schemas.microsoft.com/office/drawing/2014/main" id="{DF4A890B-98A9-4D45-8494-EE0FC102B1E1}"/>
                    </a:ext>
                  </a:extLst>
                </p:cNvPr>
                <p:cNvSpPr/>
                <p:nvPr/>
              </p:nvSpPr>
              <p:spPr>
                <a:xfrm>
                  <a:off x="-2138085" y="367072"/>
                  <a:ext cx="198394" cy="97739"/>
                </a:xfrm>
                <a:custGeom>
                  <a:avLst/>
                  <a:gdLst>
                    <a:gd name="connsiteX0" fmla="*/ 198394 w 198394"/>
                    <a:gd name="connsiteY0" fmla="*/ 97740 h 97739"/>
                    <a:gd name="connsiteX1" fmla="*/ 0 w 198394"/>
                    <a:gd name="connsiteY1" fmla="*/ 97740 h 97739"/>
                    <a:gd name="connsiteX2" fmla="*/ 0 w 198394"/>
                    <a:gd name="connsiteY2" fmla="*/ 55712 h 97739"/>
                    <a:gd name="connsiteX3" fmla="*/ 56335 w 198394"/>
                    <a:gd name="connsiteY3" fmla="*/ 1 h 97739"/>
                    <a:gd name="connsiteX4" fmla="*/ 56335 w 198394"/>
                    <a:gd name="connsiteY4" fmla="*/ 1 h 97739"/>
                    <a:gd name="connsiteX5" fmla="*/ 141876 w 198394"/>
                    <a:gd name="connsiteY5" fmla="*/ 1 h 97739"/>
                    <a:gd name="connsiteX6" fmla="*/ 198272 w 198394"/>
                    <a:gd name="connsiteY6" fmla="*/ 55651 h 97739"/>
                    <a:gd name="connsiteX7" fmla="*/ 198272 w 198394"/>
                    <a:gd name="connsiteY7" fmla="*/ 55712 h 977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98394" h="97739">
                      <a:moveTo>
                        <a:pt x="198394" y="97740"/>
                      </a:moveTo>
                      <a:lnTo>
                        <a:pt x="0" y="97740"/>
                      </a:lnTo>
                      <a:lnTo>
                        <a:pt x="0" y="55712"/>
                      </a:lnTo>
                      <a:cubicBezTo>
                        <a:pt x="171" y="24778"/>
                        <a:pt x="25387" y="-170"/>
                        <a:pt x="56335" y="1"/>
                      </a:cubicBezTo>
                      <a:cubicBezTo>
                        <a:pt x="56335" y="1"/>
                        <a:pt x="56335" y="1"/>
                        <a:pt x="56335" y="1"/>
                      </a:cubicBezTo>
                      <a:lnTo>
                        <a:pt x="141876" y="1"/>
                      </a:lnTo>
                      <a:cubicBezTo>
                        <a:pt x="172818" y="-200"/>
                        <a:pt x="198071" y="24711"/>
                        <a:pt x="198272" y="55651"/>
                      </a:cubicBezTo>
                      <a:cubicBezTo>
                        <a:pt x="198272" y="55670"/>
                        <a:pt x="198272" y="55694"/>
                        <a:pt x="198272" y="55712"/>
                      </a:cubicBez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609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8" name="Freihandform 737">
                  <a:extLst>
                    <a:ext uri="{FF2B5EF4-FFF2-40B4-BE49-F238E27FC236}">
                      <a16:creationId xmlns:a16="http://schemas.microsoft.com/office/drawing/2014/main" id="{45F70849-05DB-BD4D-9758-982A6E767A6E}"/>
                    </a:ext>
                  </a:extLst>
                </p:cNvPr>
                <p:cNvSpPr/>
                <p:nvPr/>
              </p:nvSpPr>
              <p:spPr>
                <a:xfrm>
                  <a:off x="-2165763" y="411239"/>
                  <a:ext cx="253751" cy="22724"/>
                </a:xfrm>
                <a:custGeom>
                  <a:avLst/>
                  <a:gdLst>
                    <a:gd name="connsiteX0" fmla="*/ 242387 w 253751"/>
                    <a:gd name="connsiteY0" fmla="*/ 22724 h 22724"/>
                    <a:gd name="connsiteX1" fmla="*/ 11365 w 253751"/>
                    <a:gd name="connsiteY1" fmla="*/ 22724 h 22724"/>
                    <a:gd name="connsiteX2" fmla="*/ 0 w 253751"/>
                    <a:gd name="connsiteY2" fmla="*/ 11362 h 22724"/>
                    <a:gd name="connsiteX3" fmla="*/ 11365 w 253751"/>
                    <a:gd name="connsiteY3" fmla="*/ 0 h 22724"/>
                    <a:gd name="connsiteX4" fmla="*/ 242387 w 253751"/>
                    <a:gd name="connsiteY4" fmla="*/ 0 h 22724"/>
                    <a:gd name="connsiteX5" fmla="*/ 253752 w 253751"/>
                    <a:gd name="connsiteY5" fmla="*/ 11362 h 22724"/>
                    <a:gd name="connsiteX6" fmla="*/ 242387 w 253751"/>
                    <a:gd name="connsiteY6" fmla="*/ 22724 h 22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3751" h="22724">
                      <a:moveTo>
                        <a:pt x="242387" y="22724"/>
                      </a:moveTo>
                      <a:lnTo>
                        <a:pt x="11365" y="22724"/>
                      </a:lnTo>
                      <a:cubicBezTo>
                        <a:pt x="5090" y="22724"/>
                        <a:pt x="0" y="17636"/>
                        <a:pt x="0" y="11362"/>
                      </a:cubicBezTo>
                      <a:cubicBezTo>
                        <a:pt x="0" y="5089"/>
                        <a:pt x="5090" y="0"/>
                        <a:pt x="11365" y="0"/>
                      </a:cubicBezTo>
                      <a:lnTo>
                        <a:pt x="242387" y="0"/>
                      </a:lnTo>
                      <a:cubicBezTo>
                        <a:pt x="248662" y="0"/>
                        <a:pt x="253752" y="5089"/>
                        <a:pt x="253752" y="11362"/>
                      </a:cubicBezTo>
                      <a:cubicBezTo>
                        <a:pt x="253752" y="17636"/>
                        <a:pt x="248662" y="22724"/>
                        <a:pt x="242387" y="22724"/>
                      </a:cubicBezTo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609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9" name="Freihandform 738">
                  <a:extLst>
                    <a:ext uri="{FF2B5EF4-FFF2-40B4-BE49-F238E27FC236}">
                      <a16:creationId xmlns:a16="http://schemas.microsoft.com/office/drawing/2014/main" id="{06C73D91-4FAC-0141-B880-3907A3AE9334}"/>
                    </a:ext>
                  </a:extLst>
                </p:cNvPr>
                <p:cNvSpPr/>
                <p:nvPr/>
              </p:nvSpPr>
              <p:spPr>
                <a:xfrm>
                  <a:off x="-2110345" y="398838"/>
                  <a:ext cx="143037" cy="62003"/>
                </a:xfrm>
                <a:custGeom>
                  <a:avLst/>
                  <a:gdLst>
                    <a:gd name="connsiteX0" fmla="*/ 142854 w 143037"/>
                    <a:gd name="connsiteY0" fmla="*/ 62004 h 62003"/>
                    <a:gd name="connsiteX1" fmla="*/ 0 w 143037"/>
                    <a:gd name="connsiteY1" fmla="*/ 62004 h 62003"/>
                    <a:gd name="connsiteX2" fmla="*/ 0 w 143037"/>
                    <a:gd name="connsiteY2" fmla="*/ 32315 h 62003"/>
                    <a:gd name="connsiteX3" fmla="*/ 32689 w 143037"/>
                    <a:gd name="connsiteY3" fmla="*/ 1 h 62003"/>
                    <a:gd name="connsiteX4" fmla="*/ 32689 w 143037"/>
                    <a:gd name="connsiteY4" fmla="*/ 1 h 62003"/>
                    <a:gd name="connsiteX5" fmla="*/ 110348 w 143037"/>
                    <a:gd name="connsiteY5" fmla="*/ 1 h 62003"/>
                    <a:gd name="connsiteX6" fmla="*/ 143037 w 143037"/>
                    <a:gd name="connsiteY6" fmla="*/ 32315 h 62003"/>
                    <a:gd name="connsiteX7" fmla="*/ 143037 w 143037"/>
                    <a:gd name="connsiteY7" fmla="*/ 32315 h 620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43037" h="62003">
                      <a:moveTo>
                        <a:pt x="142854" y="62004"/>
                      </a:moveTo>
                      <a:lnTo>
                        <a:pt x="0" y="62004"/>
                      </a:lnTo>
                      <a:lnTo>
                        <a:pt x="0" y="32315"/>
                      </a:lnTo>
                      <a:cubicBezTo>
                        <a:pt x="104" y="14368"/>
                        <a:pt x="14737" y="-103"/>
                        <a:pt x="32689" y="1"/>
                      </a:cubicBezTo>
                      <a:cubicBezTo>
                        <a:pt x="32689" y="1"/>
                        <a:pt x="32689" y="1"/>
                        <a:pt x="32689" y="1"/>
                      </a:cubicBezTo>
                      <a:lnTo>
                        <a:pt x="110348" y="1"/>
                      </a:lnTo>
                      <a:cubicBezTo>
                        <a:pt x="128299" y="-103"/>
                        <a:pt x="142933" y="14368"/>
                        <a:pt x="143037" y="32315"/>
                      </a:cubicBezTo>
                      <a:cubicBezTo>
                        <a:pt x="143037" y="32315"/>
                        <a:pt x="143037" y="32315"/>
                        <a:pt x="143037" y="32315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609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726" name="Freihandform 725">
                <a:extLst>
                  <a:ext uri="{FF2B5EF4-FFF2-40B4-BE49-F238E27FC236}">
                    <a16:creationId xmlns:a16="http://schemas.microsoft.com/office/drawing/2014/main" id="{688867A2-6A6C-EC48-BBC0-719C4EA9D0E0}"/>
                  </a:ext>
                </a:extLst>
              </p:cNvPr>
              <p:cNvSpPr/>
              <p:nvPr/>
            </p:nvSpPr>
            <p:spPr>
              <a:xfrm>
                <a:off x="4678090" y="2143744"/>
                <a:ext cx="434875" cy="15971"/>
              </a:xfrm>
              <a:custGeom>
                <a:avLst/>
                <a:gdLst>
                  <a:gd name="connsiteX0" fmla="*/ 0 w 166316"/>
                  <a:gd name="connsiteY0" fmla="*/ 0 h 6108"/>
                  <a:gd name="connsiteX1" fmla="*/ 166317 w 166316"/>
                  <a:gd name="connsiteY1" fmla="*/ 0 h 6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6316" h="6108">
                    <a:moveTo>
                      <a:pt x="0" y="0"/>
                    </a:moveTo>
                    <a:lnTo>
                      <a:pt x="166317" y="0"/>
                    </a:lnTo>
                  </a:path>
                </a:pathLst>
              </a:custGeom>
              <a:ln w="31750" cap="flat">
                <a:solidFill>
                  <a:srgbClr val="C11B1A"/>
                </a:solidFill>
                <a:prstDash val="sysDash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27" name="Freihandform 726">
                <a:extLst>
                  <a:ext uri="{FF2B5EF4-FFF2-40B4-BE49-F238E27FC236}">
                    <a16:creationId xmlns:a16="http://schemas.microsoft.com/office/drawing/2014/main" id="{D4D7085C-2117-7542-9FB7-065168A37CAC}"/>
                  </a:ext>
                </a:extLst>
              </p:cNvPr>
              <p:cNvSpPr/>
              <p:nvPr/>
            </p:nvSpPr>
            <p:spPr>
              <a:xfrm>
                <a:off x="6084969" y="1113816"/>
                <a:ext cx="730118" cy="311474"/>
              </a:xfrm>
              <a:custGeom>
                <a:avLst/>
                <a:gdLst>
                  <a:gd name="connsiteX0" fmla="*/ 278864 w 279230"/>
                  <a:gd name="connsiteY0" fmla="*/ 119123 h 119122"/>
                  <a:gd name="connsiteX1" fmla="*/ 0 w 279230"/>
                  <a:gd name="connsiteY1" fmla="*/ 119123 h 119122"/>
                  <a:gd name="connsiteX2" fmla="*/ 0 w 279230"/>
                  <a:gd name="connsiteY2" fmla="*/ 78256 h 119122"/>
                  <a:gd name="connsiteX3" fmla="*/ 79120 w 279230"/>
                  <a:gd name="connsiteY3" fmla="*/ 1 h 119122"/>
                  <a:gd name="connsiteX4" fmla="*/ 79431 w 279230"/>
                  <a:gd name="connsiteY4" fmla="*/ 4 h 119122"/>
                  <a:gd name="connsiteX5" fmla="*/ 199800 w 279230"/>
                  <a:gd name="connsiteY5" fmla="*/ 4 h 119122"/>
                  <a:gd name="connsiteX6" fmla="*/ 279231 w 279230"/>
                  <a:gd name="connsiteY6" fmla="*/ 78068 h 119122"/>
                  <a:gd name="connsiteX7" fmla="*/ 279231 w 279230"/>
                  <a:gd name="connsiteY7" fmla="*/ 78256 h 119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9230" h="119122">
                    <a:moveTo>
                      <a:pt x="278864" y="119123"/>
                    </a:moveTo>
                    <a:lnTo>
                      <a:pt x="0" y="119123"/>
                    </a:lnTo>
                    <a:lnTo>
                      <a:pt x="0" y="78256"/>
                    </a:lnTo>
                    <a:cubicBezTo>
                      <a:pt x="232" y="34803"/>
                      <a:pt x="35658" y="-233"/>
                      <a:pt x="79120" y="1"/>
                    </a:cubicBezTo>
                    <a:cubicBezTo>
                      <a:pt x="79223" y="2"/>
                      <a:pt x="79327" y="2"/>
                      <a:pt x="79431" y="4"/>
                    </a:cubicBezTo>
                    <a:lnTo>
                      <a:pt x="199800" y="4"/>
                    </a:lnTo>
                    <a:cubicBezTo>
                      <a:pt x="243298" y="-368"/>
                      <a:pt x="278858" y="34582"/>
                      <a:pt x="279231" y="78068"/>
                    </a:cubicBezTo>
                    <a:cubicBezTo>
                      <a:pt x="279231" y="78130"/>
                      <a:pt x="279231" y="78193"/>
                      <a:pt x="279231" y="78256"/>
                    </a:cubicBezTo>
                    <a:close/>
                  </a:path>
                </a:pathLst>
              </a:custGeom>
              <a:solidFill>
                <a:schemeClr val="tx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28" name="Freihandform 727">
                <a:extLst>
                  <a:ext uri="{FF2B5EF4-FFF2-40B4-BE49-F238E27FC236}">
                    <a16:creationId xmlns:a16="http://schemas.microsoft.com/office/drawing/2014/main" id="{EF93D7C0-B2A9-4449-9A7C-FB561E623E4C}"/>
                  </a:ext>
                </a:extLst>
              </p:cNvPr>
              <p:cNvSpPr/>
              <p:nvPr/>
            </p:nvSpPr>
            <p:spPr>
              <a:xfrm>
                <a:off x="6082092" y="1340798"/>
                <a:ext cx="731556" cy="129219"/>
              </a:xfrm>
              <a:custGeom>
                <a:avLst/>
                <a:gdLst>
                  <a:gd name="connsiteX0" fmla="*/ 0 w 279780"/>
                  <a:gd name="connsiteY0" fmla="*/ 0 h 49419"/>
                  <a:gd name="connsiteX1" fmla="*/ 279781 w 279780"/>
                  <a:gd name="connsiteY1" fmla="*/ 0 h 49419"/>
                  <a:gd name="connsiteX2" fmla="*/ 279781 w 279780"/>
                  <a:gd name="connsiteY2" fmla="*/ 49419 h 49419"/>
                  <a:gd name="connsiteX3" fmla="*/ 0 w 279780"/>
                  <a:gd name="connsiteY3" fmla="*/ 49419 h 49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9780" h="49419">
                    <a:moveTo>
                      <a:pt x="0" y="0"/>
                    </a:moveTo>
                    <a:lnTo>
                      <a:pt x="279781" y="0"/>
                    </a:lnTo>
                    <a:lnTo>
                      <a:pt x="279781" y="49419"/>
                    </a:lnTo>
                    <a:lnTo>
                      <a:pt x="0" y="49419"/>
                    </a:lnTo>
                    <a:close/>
                  </a:path>
                </a:pathLst>
              </a:custGeom>
              <a:solidFill>
                <a:srgbClr val="C11B1A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729" name="Grafik 5">
                <a:extLst>
                  <a:ext uri="{FF2B5EF4-FFF2-40B4-BE49-F238E27FC236}">
                    <a16:creationId xmlns:a16="http://schemas.microsoft.com/office/drawing/2014/main" id="{FAA0F682-4C57-234D-901B-6ED1745D3D72}"/>
                  </a:ext>
                </a:extLst>
              </p:cNvPr>
              <p:cNvGrpSpPr/>
              <p:nvPr/>
            </p:nvGrpSpPr>
            <p:grpSpPr>
              <a:xfrm>
                <a:off x="6097271" y="1853995"/>
                <a:ext cx="663496" cy="367373"/>
                <a:chOff x="-1573085" y="367072"/>
                <a:chExt cx="253751" cy="140500"/>
              </a:xfrm>
            </p:grpSpPr>
            <p:sp>
              <p:nvSpPr>
                <p:cNvPr id="732" name="Freihandform 731">
                  <a:extLst>
                    <a:ext uri="{FF2B5EF4-FFF2-40B4-BE49-F238E27FC236}">
                      <a16:creationId xmlns:a16="http://schemas.microsoft.com/office/drawing/2014/main" id="{1C241AFB-2F98-094A-862D-D0956ACD3F97}"/>
                    </a:ext>
                  </a:extLst>
                </p:cNvPr>
                <p:cNvSpPr/>
                <p:nvPr/>
              </p:nvSpPr>
              <p:spPr>
                <a:xfrm>
                  <a:off x="-1545406" y="422784"/>
                  <a:ext cx="198394" cy="84788"/>
                </a:xfrm>
                <a:custGeom>
                  <a:avLst/>
                  <a:gdLst>
                    <a:gd name="connsiteX0" fmla="*/ 0 w 198394"/>
                    <a:gd name="connsiteY0" fmla="*/ 0 h 84788"/>
                    <a:gd name="connsiteX1" fmla="*/ 198394 w 198394"/>
                    <a:gd name="connsiteY1" fmla="*/ 0 h 84788"/>
                    <a:gd name="connsiteX2" fmla="*/ 198394 w 198394"/>
                    <a:gd name="connsiteY2" fmla="*/ 51007 h 84788"/>
                    <a:gd name="connsiteX3" fmla="*/ 164239 w 198394"/>
                    <a:gd name="connsiteY3" fmla="*/ 84788 h 84788"/>
                    <a:gd name="connsiteX4" fmla="*/ 164178 w 198394"/>
                    <a:gd name="connsiteY4" fmla="*/ 84788 h 84788"/>
                    <a:gd name="connsiteX5" fmla="*/ 34217 w 198394"/>
                    <a:gd name="connsiteY5" fmla="*/ 84788 h 84788"/>
                    <a:gd name="connsiteX6" fmla="*/ 0 w 198394"/>
                    <a:gd name="connsiteY6" fmla="*/ 51007 h 847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98394" h="84788">
                      <a:moveTo>
                        <a:pt x="0" y="0"/>
                      </a:moveTo>
                      <a:lnTo>
                        <a:pt x="198394" y="0"/>
                      </a:lnTo>
                      <a:lnTo>
                        <a:pt x="198394" y="51007"/>
                      </a:lnTo>
                      <a:cubicBezTo>
                        <a:pt x="198297" y="69767"/>
                        <a:pt x="183003" y="84892"/>
                        <a:pt x="164239" y="84788"/>
                      </a:cubicBezTo>
                      <a:cubicBezTo>
                        <a:pt x="164221" y="84788"/>
                        <a:pt x="164196" y="84788"/>
                        <a:pt x="164178" y="84788"/>
                      </a:cubicBezTo>
                      <a:lnTo>
                        <a:pt x="34217" y="84788"/>
                      </a:lnTo>
                      <a:cubicBezTo>
                        <a:pt x="15446" y="84892"/>
                        <a:pt x="134" y="69773"/>
                        <a:pt x="0" y="51007"/>
                      </a:cubicBezTo>
                      <a:close/>
                    </a:path>
                  </a:pathLst>
                </a:custGeom>
                <a:solidFill>
                  <a:srgbClr val="C11B1A"/>
                </a:solidFill>
                <a:ln w="609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3" name="Freihandform 732">
                  <a:extLst>
                    <a:ext uri="{FF2B5EF4-FFF2-40B4-BE49-F238E27FC236}">
                      <a16:creationId xmlns:a16="http://schemas.microsoft.com/office/drawing/2014/main" id="{EC0E095C-F35A-454F-906E-C68AD9450A84}"/>
                    </a:ext>
                  </a:extLst>
                </p:cNvPr>
                <p:cNvSpPr/>
                <p:nvPr/>
              </p:nvSpPr>
              <p:spPr>
                <a:xfrm>
                  <a:off x="-1545406" y="367072"/>
                  <a:ext cx="198394" cy="97739"/>
                </a:xfrm>
                <a:custGeom>
                  <a:avLst/>
                  <a:gdLst>
                    <a:gd name="connsiteX0" fmla="*/ 198394 w 198394"/>
                    <a:gd name="connsiteY0" fmla="*/ 97740 h 97739"/>
                    <a:gd name="connsiteX1" fmla="*/ 0 w 198394"/>
                    <a:gd name="connsiteY1" fmla="*/ 97740 h 97739"/>
                    <a:gd name="connsiteX2" fmla="*/ 0 w 198394"/>
                    <a:gd name="connsiteY2" fmla="*/ 55712 h 97739"/>
                    <a:gd name="connsiteX3" fmla="*/ 56335 w 198394"/>
                    <a:gd name="connsiteY3" fmla="*/ 1 h 97739"/>
                    <a:gd name="connsiteX4" fmla="*/ 56396 w 198394"/>
                    <a:gd name="connsiteY4" fmla="*/ 1 h 97739"/>
                    <a:gd name="connsiteX5" fmla="*/ 141937 w 198394"/>
                    <a:gd name="connsiteY5" fmla="*/ 1 h 97739"/>
                    <a:gd name="connsiteX6" fmla="*/ 198272 w 198394"/>
                    <a:gd name="connsiteY6" fmla="*/ 55712 h 97739"/>
                    <a:gd name="connsiteX7" fmla="*/ 198272 w 198394"/>
                    <a:gd name="connsiteY7" fmla="*/ 55712 h 977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98394" h="97739">
                      <a:moveTo>
                        <a:pt x="198394" y="97740"/>
                      </a:moveTo>
                      <a:lnTo>
                        <a:pt x="0" y="97740"/>
                      </a:lnTo>
                      <a:lnTo>
                        <a:pt x="0" y="55712"/>
                      </a:lnTo>
                      <a:cubicBezTo>
                        <a:pt x="165" y="24778"/>
                        <a:pt x="25387" y="-170"/>
                        <a:pt x="56335" y="1"/>
                      </a:cubicBezTo>
                      <a:cubicBezTo>
                        <a:pt x="56353" y="1"/>
                        <a:pt x="56378" y="1"/>
                        <a:pt x="56396" y="1"/>
                      </a:cubicBezTo>
                      <a:lnTo>
                        <a:pt x="141937" y="1"/>
                      </a:lnTo>
                      <a:cubicBezTo>
                        <a:pt x="172879" y="-170"/>
                        <a:pt x="198101" y="24772"/>
                        <a:pt x="198272" y="55712"/>
                      </a:cubicBezTo>
                      <a:cubicBezTo>
                        <a:pt x="198272" y="55712"/>
                        <a:pt x="198272" y="55712"/>
                        <a:pt x="198272" y="55712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609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4" name="Freihandform 733">
                  <a:extLst>
                    <a:ext uri="{FF2B5EF4-FFF2-40B4-BE49-F238E27FC236}">
                      <a16:creationId xmlns:a16="http://schemas.microsoft.com/office/drawing/2014/main" id="{DB319B1B-9360-1843-B1DA-D6358B1516B4}"/>
                    </a:ext>
                  </a:extLst>
                </p:cNvPr>
                <p:cNvSpPr/>
                <p:nvPr/>
              </p:nvSpPr>
              <p:spPr>
                <a:xfrm>
                  <a:off x="-1573085" y="411239"/>
                  <a:ext cx="253751" cy="22724"/>
                </a:xfrm>
                <a:custGeom>
                  <a:avLst/>
                  <a:gdLst>
                    <a:gd name="connsiteX0" fmla="*/ 242387 w 253751"/>
                    <a:gd name="connsiteY0" fmla="*/ 22724 h 22724"/>
                    <a:gd name="connsiteX1" fmla="*/ 11365 w 253751"/>
                    <a:gd name="connsiteY1" fmla="*/ 22724 h 22724"/>
                    <a:gd name="connsiteX2" fmla="*/ 0 w 253751"/>
                    <a:gd name="connsiteY2" fmla="*/ 11362 h 22724"/>
                    <a:gd name="connsiteX3" fmla="*/ 11365 w 253751"/>
                    <a:gd name="connsiteY3" fmla="*/ 0 h 22724"/>
                    <a:gd name="connsiteX4" fmla="*/ 242387 w 253751"/>
                    <a:gd name="connsiteY4" fmla="*/ 0 h 22724"/>
                    <a:gd name="connsiteX5" fmla="*/ 253752 w 253751"/>
                    <a:gd name="connsiteY5" fmla="*/ 11362 h 22724"/>
                    <a:gd name="connsiteX6" fmla="*/ 242387 w 253751"/>
                    <a:gd name="connsiteY6" fmla="*/ 22724 h 22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3751" h="22724">
                      <a:moveTo>
                        <a:pt x="242387" y="22724"/>
                      </a:moveTo>
                      <a:lnTo>
                        <a:pt x="11365" y="22724"/>
                      </a:lnTo>
                      <a:cubicBezTo>
                        <a:pt x="5090" y="22724"/>
                        <a:pt x="0" y="17636"/>
                        <a:pt x="0" y="11362"/>
                      </a:cubicBezTo>
                      <a:cubicBezTo>
                        <a:pt x="0" y="5089"/>
                        <a:pt x="5090" y="0"/>
                        <a:pt x="11365" y="0"/>
                      </a:cubicBezTo>
                      <a:lnTo>
                        <a:pt x="242387" y="0"/>
                      </a:lnTo>
                      <a:cubicBezTo>
                        <a:pt x="248662" y="0"/>
                        <a:pt x="253752" y="5089"/>
                        <a:pt x="253752" y="11362"/>
                      </a:cubicBezTo>
                      <a:cubicBezTo>
                        <a:pt x="253752" y="17636"/>
                        <a:pt x="248662" y="22724"/>
                        <a:pt x="242387" y="22724"/>
                      </a:cubicBezTo>
                    </a:path>
                  </a:pathLst>
                </a:custGeom>
                <a:solidFill>
                  <a:schemeClr val="tx1"/>
                </a:solidFill>
                <a:ln w="609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735" name="Freihandform 734">
                  <a:extLst>
                    <a:ext uri="{FF2B5EF4-FFF2-40B4-BE49-F238E27FC236}">
                      <a16:creationId xmlns:a16="http://schemas.microsoft.com/office/drawing/2014/main" id="{9D891C16-413D-2749-A0FF-C4CB98FF5BB9}"/>
                    </a:ext>
                  </a:extLst>
                </p:cNvPr>
                <p:cNvSpPr/>
                <p:nvPr/>
              </p:nvSpPr>
              <p:spPr>
                <a:xfrm>
                  <a:off x="-1517300" y="398838"/>
                  <a:ext cx="142670" cy="62003"/>
                </a:xfrm>
                <a:custGeom>
                  <a:avLst/>
                  <a:gdLst>
                    <a:gd name="connsiteX0" fmla="*/ 142548 w 142670"/>
                    <a:gd name="connsiteY0" fmla="*/ 62004 h 62003"/>
                    <a:gd name="connsiteX1" fmla="*/ 0 w 142670"/>
                    <a:gd name="connsiteY1" fmla="*/ 62004 h 62003"/>
                    <a:gd name="connsiteX2" fmla="*/ 0 w 142670"/>
                    <a:gd name="connsiteY2" fmla="*/ 32315 h 62003"/>
                    <a:gd name="connsiteX3" fmla="*/ 32689 w 142670"/>
                    <a:gd name="connsiteY3" fmla="*/ 1 h 62003"/>
                    <a:gd name="connsiteX4" fmla="*/ 32689 w 142670"/>
                    <a:gd name="connsiteY4" fmla="*/ 1 h 62003"/>
                    <a:gd name="connsiteX5" fmla="*/ 109982 w 142670"/>
                    <a:gd name="connsiteY5" fmla="*/ 1 h 62003"/>
                    <a:gd name="connsiteX6" fmla="*/ 142671 w 142670"/>
                    <a:gd name="connsiteY6" fmla="*/ 32315 h 62003"/>
                    <a:gd name="connsiteX7" fmla="*/ 142671 w 142670"/>
                    <a:gd name="connsiteY7" fmla="*/ 32315 h 620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42670" h="62003">
                      <a:moveTo>
                        <a:pt x="142548" y="62004"/>
                      </a:moveTo>
                      <a:lnTo>
                        <a:pt x="0" y="62004"/>
                      </a:lnTo>
                      <a:lnTo>
                        <a:pt x="0" y="32315"/>
                      </a:lnTo>
                      <a:cubicBezTo>
                        <a:pt x="104" y="14368"/>
                        <a:pt x="14737" y="-103"/>
                        <a:pt x="32689" y="1"/>
                      </a:cubicBezTo>
                      <a:cubicBezTo>
                        <a:pt x="32689" y="1"/>
                        <a:pt x="32689" y="1"/>
                        <a:pt x="32689" y="1"/>
                      </a:cubicBezTo>
                      <a:lnTo>
                        <a:pt x="109982" y="1"/>
                      </a:lnTo>
                      <a:cubicBezTo>
                        <a:pt x="127933" y="-103"/>
                        <a:pt x="142567" y="14368"/>
                        <a:pt x="142671" y="32315"/>
                      </a:cubicBezTo>
                      <a:cubicBezTo>
                        <a:pt x="142671" y="32315"/>
                        <a:pt x="142671" y="32315"/>
                        <a:pt x="142671" y="32315"/>
                      </a:cubicBezTo>
                      <a:close/>
                    </a:path>
                  </a:pathLst>
                </a:custGeom>
                <a:solidFill>
                  <a:srgbClr val="9D9D9C"/>
                </a:solidFill>
                <a:ln w="609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730" name="Freihandform 729">
                <a:extLst>
                  <a:ext uri="{FF2B5EF4-FFF2-40B4-BE49-F238E27FC236}">
                    <a16:creationId xmlns:a16="http://schemas.microsoft.com/office/drawing/2014/main" id="{864C0A0D-044D-7742-B867-A0DE7819E072}"/>
                  </a:ext>
                </a:extLst>
              </p:cNvPr>
              <p:cNvSpPr/>
              <p:nvPr/>
            </p:nvSpPr>
            <p:spPr>
              <a:xfrm>
                <a:off x="6227957" y="2148853"/>
                <a:ext cx="437592" cy="15971"/>
              </a:xfrm>
              <a:custGeom>
                <a:avLst/>
                <a:gdLst>
                  <a:gd name="connsiteX0" fmla="*/ 0 w 167355"/>
                  <a:gd name="connsiteY0" fmla="*/ 0 h 6108"/>
                  <a:gd name="connsiteX1" fmla="*/ 167355 w 167355"/>
                  <a:gd name="connsiteY1" fmla="*/ 0 h 6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7355" h="6108">
                    <a:moveTo>
                      <a:pt x="0" y="0"/>
                    </a:moveTo>
                    <a:lnTo>
                      <a:pt x="167355" y="0"/>
                    </a:lnTo>
                  </a:path>
                </a:pathLst>
              </a:custGeom>
              <a:ln w="31750" cap="flat">
                <a:solidFill>
                  <a:srgbClr val="1D1D1B"/>
                </a:solidFill>
                <a:prstDash val="sysDash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31" name="Textfeld 730">
                <a:extLst>
                  <a:ext uri="{FF2B5EF4-FFF2-40B4-BE49-F238E27FC236}">
                    <a16:creationId xmlns:a16="http://schemas.microsoft.com/office/drawing/2014/main" id="{0A39BEE4-22EB-224A-A52F-7B1D9441831D}"/>
                  </a:ext>
                </a:extLst>
              </p:cNvPr>
              <p:cNvSpPr txBox="1"/>
              <p:nvPr/>
            </p:nvSpPr>
            <p:spPr>
              <a:xfrm>
                <a:off x="4091598" y="2375166"/>
                <a:ext cx="2369616" cy="29919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cs-CZ" sz="700" dirty="0"/>
                  <a:t>Plnopryžová kola</a:t>
                </a:r>
                <a:endParaRPr lang="de-DE" sz="700" dirty="0"/>
              </a:p>
            </p:txBody>
          </p:sp>
        </p:grpSp>
        <p:sp>
          <p:nvSpPr>
            <p:cNvPr id="830" name="Textfeld 829">
              <a:extLst>
                <a:ext uri="{FF2B5EF4-FFF2-40B4-BE49-F238E27FC236}">
                  <a16:creationId xmlns:a16="http://schemas.microsoft.com/office/drawing/2014/main" id="{17F067F7-65D6-6F4B-BC69-590AB025E446}"/>
                </a:ext>
              </a:extLst>
            </p:cNvPr>
            <p:cNvSpPr txBox="1"/>
            <p:nvPr/>
          </p:nvSpPr>
          <p:spPr>
            <a:xfrm>
              <a:off x="3570751" y="2830808"/>
              <a:ext cx="1457252" cy="5483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700" dirty="0"/>
                <a:t> </a:t>
              </a:r>
              <a:r>
                <a:rPr lang="cs-CZ" sz="700" dirty="0"/>
                <a:t> Konstrukce kola</a:t>
              </a:r>
              <a:endParaRPr lang="de-DE" sz="700" dirty="0"/>
            </a:p>
            <a:p>
              <a:pPr algn="ctr"/>
              <a:br>
                <a:rPr lang="de-DE" sz="700" dirty="0"/>
              </a:br>
              <a:r>
                <a:rPr lang="cs-CZ" sz="700" dirty="0"/>
                <a:t>Plnopryžové bandáže s ocelovou základnou </a:t>
              </a:r>
              <a:r>
                <a:rPr lang="de-DE" sz="700" dirty="0"/>
                <a:t>(STB)</a:t>
              </a:r>
            </a:p>
          </p:txBody>
        </p:sp>
      </p:grpSp>
      <p:sp>
        <p:nvSpPr>
          <p:cNvPr id="842" name="Textfeld 841">
            <a:extLst>
              <a:ext uri="{FF2B5EF4-FFF2-40B4-BE49-F238E27FC236}">
                <a16:creationId xmlns:a16="http://schemas.microsoft.com/office/drawing/2014/main" id="{EE1E221D-59BA-2247-A0FC-C3749840503E}"/>
              </a:ext>
            </a:extLst>
          </p:cNvPr>
          <p:cNvSpPr txBox="1"/>
          <p:nvPr/>
        </p:nvSpPr>
        <p:spPr>
          <a:xfrm>
            <a:off x="4590768" y="1758552"/>
            <a:ext cx="158417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700" dirty="0"/>
              <a:t>Malé </a:t>
            </a:r>
            <a:r>
              <a:rPr lang="de-DE" sz="700" dirty="0" err="1"/>
              <a:t>až</a:t>
            </a:r>
            <a:r>
              <a:rPr lang="de-DE" sz="700" dirty="0"/>
              <a:t> </a:t>
            </a:r>
            <a:r>
              <a:rPr lang="de-DE" sz="700" dirty="0" err="1"/>
              <a:t>střední</a:t>
            </a:r>
            <a:r>
              <a:rPr lang="de-DE" sz="700" dirty="0"/>
              <a:t> </a:t>
            </a:r>
            <a:r>
              <a:rPr lang="de-DE" sz="700" dirty="0" err="1"/>
              <a:t>průmyslové</a:t>
            </a:r>
            <a:r>
              <a:rPr lang="de-DE" sz="700" dirty="0"/>
              <a:t> </a:t>
            </a:r>
            <a:r>
              <a:rPr lang="de-DE" sz="700" dirty="0" err="1"/>
              <a:t>společnosti</a:t>
            </a:r>
            <a:r>
              <a:rPr lang="cs-CZ" sz="700" dirty="0"/>
              <a:t> s celonárodní působností</a:t>
            </a:r>
            <a:endParaRPr lang="de-DE" sz="700" dirty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8354A624-06B4-7848-8C25-F78C9DA9640F}"/>
              </a:ext>
            </a:extLst>
          </p:cNvPr>
          <p:cNvGrpSpPr/>
          <p:nvPr/>
        </p:nvGrpSpPr>
        <p:grpSpPr>
          <a:xfrm>
            <a:off x="3159006" y="3347456"/>
            <a:ext cx="764922" cy="860576"/>
            <a:chOff x="3159006" y="4516893"/>
            <a:chExt cx="764922" cy="860576"/>
          </a:xfrm>
        </p:grpSpPr>
        <p:sp>
          <p:nvSpPr>
            <p:cNvPr id="714" name="Textfeld 713">
              <a:extLst>
                <a:ext uri="{FF2B5EF4-FFF2-40B4-BE49-F238E27FC236}">
                  <a16:creationId xmlns:a16="http://schemas.microsoft.com/office/drawing/2014/main" id="{B92B9C3C-6CB8-0C45-B0D8-F5B72B199DE9}"/>
                </a:ext>
              </a:extLst>
            </p:cNvPr>
            <p:cNvSpPr txBox="1"/>
            <p:nvPr/>
          </p:nvSpPr>
          <p:spPr>
            <a:xfrm>
              <a:off x="3159006" y="4915804"/>
              <a:ext cx="7649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800" dirty="0">
                  <a:solidFill>
                    <a:srgbClr val="C11B1A"/>
                  </a:solidFill>
                </a:rPr>
                <a:t>NIŽŠÍ – STŘEDNÍ INTENZITA</a:t>
              </a:r>
              <a:endParaRPr lang="de-DE" sz="800" dirty="0">
                <a:solidFill>
                  <a:srgbClr val="C11B1A"/>
                </a:solidFill>
              </a:endParaRPr>
            </a:p>
          </p:txBody>
        </p:sp>
        <p:grpSp>
          <p:nvGrpSpPr>
            <p:cNvPr id="843" name="Gruppieren 842">
              <a:extLst>
                <a:ext uri="{FF2B5EF4-FFF2-40B4-BE49-F238E27FC236}">
                  <a16:creationId xmlns:a16="http://schemas.microsoft.com/office/drawing/2014/main" id="{6AE4EF1D-0B52-8342-AEB9-E3C0D159E2F6}"/>
                </a:ext>
              </a:extLst>
            </p:cNvPr>
            <p:cNvGrpSpPr/>
            <p:nvPr/>
          </p:nvGrpSpPr>
          <p:grpSpPr>
            <a:xfrm>
              <a:off x="3260890" y="4516893"/>
              <a:ext cx="556924" cy="414121"/>
              <a:chOff x="8067478" y="3893767"/>
              <a:chExt cx="768142" cy="571181"/>
            </a:xfrm>
            <a:solidFill>
              <a:srgbClr val="C11B1A"/>
            </a:solidFill>
          </p:grpSpPr>
          <p:sp>
            <p:nvSpPr>
              <p:cNvPr id="844" name="Freihandform 843">
                <a:extLst>
                  <a:ext uri="{FF2B5EF4-FFF2-40B4-BE49-F238E27FC236}">
                    <a16:creationId xmlns:a16="http://schemas.microsoft.com/office/drawing/2014/main" id="{EE02AB6C-9E74-2B4A-8C97-E2B06449A6ED}"/>
                  </a:ext>
                </a:extLst>
              </p:cNvPr>
              <p:cNvSpPr/>
              <p:nvPr/>
            </p:nvSpPr>
            <p:spPr>
              <a:xfrm>
                <a:off x="8728739" y="3893767"/>
                <a:ext cx="106881" cy="571021"/>
              </a:xfrm>
              <a:custGeom>
                <a:avLst/>
                <a:gdLst>
                  <a:gd name="connsiteX0" fmla="*/ 0 w 40876"/>
                  <a:gd name="connsiteY0" fmla="*/ 0 h 218384"/>
                  <a:gd name="connsiteX1" fmla="*/ 40877 w 40876"/>
                  <a:gd name="connsiteY1" fmla="*/ 0 h 218384"/>
                  <a:gd name="connsiteX2" fmla="*/ 40877 w 40876"/>
                  <a:gd name="connsiteY2" fmla="*/ 218385 h 218384"/>
                  <a:gd name="connsiteX3" fmla="*/ 0 w 40876"/>
                  <a:gd name="connsiteY3" fmla="*/ 218385 h 218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876" h="218384">
                    <a:moveTo>
                      <a:pt x="0" y="0"/>
                    </a:moveTo>
                    <a:lnTo>
                      <a:pt x="40877" y="0"/>
                    </a:lnTo>
                    <a:lnTo>
                      <a:pt x="40877" y="218385"/>
                    </a:lnTo>
                    <a:lnTo>
                      <a:pt x="0" y="218385"/>
                    </a:lnTo>
                    <a:close/>
                  </a:path>
                </a:pathLst>
              </a:custGeom>
              <a:noFill/>
              <a:ln w="12700" cap="flat">
                <a:solidFill>
                  <a:srgbClr val="C11B1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5" name="Freihandform 844">
                <a:extLst>
                  <a:ext uri="{FF2B5EF4-FFF2-40B4-BE49-F238E27FC236}">
                    <a16:creationId xmlns:a16="http://schemas.microsoft.com/office/drawing/2014/main" id="{B3271E51-4172-6D4A-A5C2-C3144A421304}"/>
                  </a:ext>
                </a:extLst>
              </p:cNvPr>
              <p:cNvSpPr/>
              <p:nvPr/>
            </p:nvSpPr>
            <p:spPr>
              <a:xfrm>
                <a:off x="8563384" y="3945518"/>
                <a:ext cx="106881" cy="519269"/>
              </a:xfrm>
              <a:custGeom>
                <a:avLst/>
                <a:gdLst>
                  <a:gd name="connsiteX0" fmla="*/ 0 w 40876"/>
                  <a:gd name="connsiteY0" fmla="*/ 0 h 198592"/>
                  <a:gd name="connsiteX1" fmla="*/ 40876 w 40876"/>
                  <a:gd name="connsiteY1" fmla="*/ 0 h 198592"/>
                  <a:gd name="connsiteX2" fmla="*/ 40876 w 40876"/>
                  <a:gd name="connsiteY2" fmla="*/ 198593 h 198592"/>
                  <a:gd name="connsiteX3" fmla="*/ 0 w 40876"/>
                  <a:gd name="connsiteY3" fmla="*/ 198593 h 198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876" h="198592">
                    <a:moveTo>
                      <a:pt x="0" y="0"/>
                    </a:moveTo>
                    <a:lnTo>
                      <a:pt x="40876" y="0"/>
                    </a:lnTo>
                    <a:lnTo>
                      <a:pt x="40876" y="198593"/>
                    </a:lnTo>
                    <a:lnTo>
                      <a:pt x="0" y="198593"/>
                    </a:lnTo>
                    <a:close/>
                  </a:path>
                </a:pathLst>
              </a:custGeom>
              <a:noFill/>
              <a:ln w="12700" cap="flat">
                <a:solidFill>
                  <a:srgbClr val="C11B1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6" name="Freihandform 845">
                <a:extLst>
                  <a:ext uri="{FF2B5EF4-FFF2-40B4-BE49-F238E27FC236}">
                    <a16:creationId xmlns:a16="http://schemas.microsoft.com/office/drawing/2014/main" id="{F9055202-91A7-2441-8E64-AF4AFA18A674}"/>
                  </a:ext>
                </a:extLst>
              </p:cNvPr>
              <p:cNvSpPr/>
              <p:nvPr/>
            </p:nvSpPr>
            <p:spPr>
              <a:xfrm>
                <a:off x="8398027" y="4045828"/>
                <a:ext cx="106881" cy="419120"/>
              </a:xfrm>
              <a:custGeom>
                <a:avLst/>
                <a:gdLst>
                  <a:gd name="connsiteX0" fmla="*/ 0 w 40876"/>
                  <a:gd name="connsiteY0" fmla="*/ 0 h 160291"/>
                  <a:gd name="connsiteX1" fmla="*/ 40877 w 40876"/>
                  <a:gd name="connsiteY1" fmla="*/ 0 h 160291"/>
                  <a:gd name="connsiteX2" fmla="*/ 40877 w 40876"/>
                  <a:gd name="connsiteY2" fmla="*/ 160291 h 160291"/>
                  <a:gd name="connsiteX3" fmla="*/ 0 w 40876"/>
                  <a:gd name="connsiteY3" fmla="*/ 160291 h 160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876" h="160291">
                    <a:moveTo>
                      <a:pt x="0" y="0"/>
                    </a:moveTo>
                    <a:lnTo>
                      <a:pt x="40877" y="0"/>
                    </a:lnTo>
                    <a:lnTo>
                      <a:pt x="40877" y="160291"/>
                    </a:lnTo>
                    <a:lnTo>
                      <a:pt x="0" y="160291"/>
                    </a:lnTo>
                    <a:close/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7" name="Freihandform 846">
                <a:extLst>
                  <a:ext uri="{FF2B5EF4-FFF2-40B4-BE49-F238E27FC236}">
                    <a16:creationId xmlns:a16="http://schemas.microsoft.com/office/drawing/2014/main" id="{16AED985-E72C-1149-95A0-9E7D35917958}"/>
                  </a:ext>
                </a:extLst>
              </p:cNvPr>
              <p:cNvSpPr/>
              <p:nvPr/>
            </p:nvSpPr>
            <p:spPr>
              <a:xfrm>
                <a:off x="8232832" y="4142621"/>
                <a:ext cx="106881" cy="322165"/>
              </a:xfrm>
              <a:custGeom>
                <a:avLst/>
                <a:gdLst>
                  <a:gd name="connsiteX0" fmla="*/ 0 w 40876"/>
                  <a:gd name="connsiteY0" fmla="*/ 0 h 123211"/>
                  <a:gd name="connsiteX1" fmla="*/ 40876 w 40876"/>
                  <a:gd name="connsiteY1" fmla="*/ 0 h 123211"/>
                  <a:gd name="connsiteX2" fmla="*/ 40876 w 40876"/>
                  <a:gd name="connsiteY2" fmla="*/ 123212 h 123211"/>
                  <a:gd name="connsiteX3" fmla="*/ 0 w 40876"/>
                  <a:gd name="connsiteY3" fmla="*/ 123212 h 123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876" h="123211">
                    <a:moveTo>
                      <a:pt x="0" y="0"/>
                    </a:moveTo>
                    <a:lnTo>
                      <a:pt x="40876" y="0"/>
                    </a:lnTo>
                    <a:lnTo>
                      <a:pt x="40876" y="123212"/>
                    </a:lnTo>
                    <a:lnTo>
                      <a:pt x="0" y="123212"/>
                    </a:lnTo>
                    <a:close/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8" name="Freihandform 847">
                <a:extLst>
                  <a:ext uri="{FF2B5EF4-FFF2-40B4-BE49-F238E27FC236}">
                    <a16:creationId xmlns:a16="http://schemas.microsoft.com/office/drawing/2014/main" id="{D092227C-3328-CE44-9D1B-FCC8F1E301DC}"/>
                  </a:ext>
                </a:extLst>
              </p:cNvPr>
              <p:cNvSpPr/>
              <p:nvPr/>
            </p:nvSpPr>
            <p:spPr>
              <a:xfrm>
                <a:off x="8067478" y="4247721"/>
                <a:ext cx="106881" cy="217066"/>
              </a:xfrm>
              <a:custGeom>
                <a:avLst/>
                <a:gdLst>
                  <a:gd name="connsiteX0" fmla="*/ 0 w 40876"/>
                  <a:gd name="connsiteY0" fmla="*/ 0 h 83016"/>
                  <a:gd name="connsiteX1" fmla="*/ 40877 w 40876"/>
                  <a:gd name="connsiteY1" fmla="*/ 0 h 83016"/>
                  <a:gd name="connsiteX2" fmla="*/ 40877 w 40876"/>
                  <a:gd name="connsiteY2" fmla="*/ 83017 h 83016"/>
                  <a:gd name="connsiteX3" fmla="*/ 0 w 40876"/>
                  <a:gd name="connsiteY3" fmla="*/ 83017 h 83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876" h="83016">
                    <a:moveTo>
                      <a:pt x="0" y="0"/>
                    </a:moveTo>
                    <a:lnTo>
                      <a:pt x="40877" y="0"/>
                    </a:lnTo>
                    <a:lnTo>
                      <a:pt x="40877" y="83017"/>
                    </a:lnTo>
                    <a:lnTo>
                      <a:pt x="0" y="83017"/>
                    </a:lnTo>
                    <a:close/>
                  </a:path>
                </a:pathLst>
              </a:custGeom>
              <a:grpFill/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8D6F1CB0-93C6-0744-8962-83E3385C629B}"/>
              </a:ext>
            </a:extLst>
          </p:cNvPr>
          <p:cNvGrpSpPr/>
          <p:nvPr/>
        </p:nvGrpSpPr>
        <p:grpSpPr>
          <a:xfrm>
            <a:off x="3066960" y="4380427"/>
            <a:ext cx="824420" cy="638778"/>
            <a:chOff x="3944272" y="4587974"/>
            <a:chExt cx="824420" cy="638778"/>
          </a:xfrm>
        </p:grpSpPr>
        <p:grpSp>
          <p:nvGrpSpPr>
            <p:cNvPr id="849" name="Gruppieren 848">
              <a:extLst>
                <a:ext uri="{FF2B5EF4-FFF2-40B4-BE49-F238E27FC236}">
                  <a16:creationId xmlns:a16="http://schemas.microsoft.com/office/drawing/2014/main" id="{9BDCE129-2473-F94B-A22F-973F727878A3}"/>
                </a:ext>
              </a:extLst>
            </p:cNvPr>
            <p:cNvGrpSpPr/>
            <p:nvPr/>
          </p:nvGrpSpPr>
          <p:grpSpPr>
            <a:xfrm>
              <a:off x="4187097" y="4587974"/>
              <a:ext cx="338770" cy="347769"/>
              <a:chOff x="5372344" y="2846519"/>
              <a:chExt cx="527325" cy="541333"/>
            </a:xfrm>
          </p:grpSpPr>
          <p:sp>
            <p:nvSpPr>
              <p:cNvPr id="850" name="Freihandform 849">
                <a:extLst>
                  <a:ext uri="{FF2B5EF4-FFF2-40B4-BE49-F238E27FC236}">
                    <a16:creationId xmlns:a16="http://schemas.microsoft.com/office/drawing/2014/main" id="{36C1C3BA-E2D2-CC40-8793-74F65646AB42}"/>
                  </a:ext>
                </a:extLst>
              </p:cNvPr>
              <p:cNvSpPr/>
              <p:nvPr/>
            </p:nvSpPr>
            <p:spPr>
              <a:xfrm>
                <a:off x="5507634" y="2847178"/>
                <a:ext cx="392035" cy="540674"/>
              </a:xfrm>
              <a:custGeom>
                <a:avLst/>
                <a:gdLst>
                  <a:gd name="connsiteX0" fmla="*/ 149922 w 149932"/>
                  <a:gd name="connsiteY0" fmla="*/ 103298 h 206778"/>
                  <a:gd name="connsiteX1" fmla="*/ 49247 w 149932"/>
                  <a:gd name="connsiteY1" fmla="*/ 206778 h 206778"/>
                  <a:gd name="connsiteX2" fmla="*/ 49106 w 149932"/>
                  <a:gd name="connsiteY2" fmla="*/ 206778 h 206778"/>
                  <a:gd name="connsiteX3" fmla="*/ 25338 w 149932"/>
                  <a:gd name="connsiteY3" fmla="*/ 203846 h 206778"/>
                  <a:gd name="connsiteX4" fmla="*/ 32548 w 149932"/>
                  <a:gd name="connsiteY4" fmla="*/ 205373 h 206778"/>
                  <a:gd name="connsiteX5" fmla="*/ 38658 w 149932"/>
                  <a:gd name="connsiteY5" fmla="*/ 206229 h 206778"/>
                  <a:gd name="connsiteX6" fmla="*/ 39758 w 149932"/>
                  <a:gd name="connsiteY6" fmla="*/ 206229 h 206778"/>
                  <a:gd name="connsiteX7" fmla="*/ 14951 w 149932"/>
                  <a:gd name="connsiteY7" fmla="*/ 192240 h 206778"/>
                  <a:gd name="connsiteX8" fmla="*/ 15513 w 149932"/>
                  <a:gd name="connsiteY8" fmla="*/ 118722 h 206778"/>
                  <a:gd name="connsiteX9" fmla="*/ 23321 w 149932"/>
                  <a:gd name="connsiteY9" fmla="*/ 112399 h 206778"/>
                  <a:gd name="connsiteX10" fmla="*/ 50084 w 149932"/>
                  <a:gd name="connsiteY10" fmla="*/ 104275 h 206778"/>
                  <a:gd name="connsiteX11" fmla="*/ 83934 w 149932"/>
                  <a:gd name="connsiteY11" fmla="*/ 89797 h 206778"/>
                  <a:gd name="connsiteX12" fmla="*/ 84318 w 149932"/>
                  <a:gd name="connsiteY12" fmla="*/ 14642 h 206778"/>
                  <a:gd name="connsiteX13" fmla="*/ 74524 w 149932"/>
                  <a:gd name="connsiteY13" fmla="*/ 6842 h 206778"/>
                  <a:gd name="connsiteX14" fmla="*/ 54605 w 149932"/>
                  <a:gd name="connsiteY14" fmla="*/ 0 h 206778"/>
                  <a:gd name="connsiteX15" fmla="*/ 149922 w 149932"/>
                  <a:gd name="connsiteY15" fmla="*/ 103359 h 206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49932" h="206778">
                    <a:moveTo>
                      <a:pt x="149922" y="103298"/>
                    </a:moveTo>
                    <a:cubicBezTo>
                      <a:pt x="150704" y="159668"/>
                      <a:pt x="105630" y="205997"/>
                      <a:pt x="49247" y="206778"/>
                    </a:cubicBezTo>
                    <a:cubicBezTo>
                      <a:pt x="49198" y="206778"/>
                      <a:pt x="49155" y="206778"/>
                      <a:pt x="49106" y="206778"/>
                    </a:cubicBezTo>
                    <a:cubicBezTo>
                      <a:pt x="41096" y="206772"/>
                      <a:pt x="33110" y="205789"/>
                      <a:pt x="25338" y="203846"/>
                    </a:cubicBezTo>
                    <a:cubicBezTo>
                      <a:pt x="27721" y="204457"/>
                      <a:pt x="30104" y="204946"/>
                      <a:pt x="32548" y="205373"/>
                    </a:cubicBezTo>
                    <a:lnTo>
                      <a:pt x="38658" y="206229"/>
                    </a:lnTo>
                    <a:lnTo>
                      <a:pt x="39758" y="206229"/>
                    </a:lnTo>
                    <a:cubicBezTo>
                      <a:pt x="30391" y="203852"/>
                      <a:pt x="21831" y="199020"/>
                      <a:pt x="14951" y="192240"/>
                    </a:cubicBezTo>
                    <a:cubicBezTo>
                      <a:pt x="-5200" y="171782"/>
                      <a:pt x="-4950" y="138868"/>
                      <a:pt x="15513" y="118722"/>
                    </a:cubicBezTo>
                    <a:cubicBezTo>
                      <a:pt x="17908" y="116370"/>
                      <a:pt x="20523" y="114250"/>
                      <a:pt x="23321" y="112399"/>
                    </a:cubicBezTo>
                    <a:cubicBezTo>
                      <a:pt x="31271" y="107164"/>
                      <a:pt x="40564" y="104342"/>
                      <a:pt x="50084" y="104275"/>
                    </a:cubicBezTo>
                    <a:cubicBezTo>
                      <a:pt x="62878" y="104312"/>
                      <a:pt x="75123" y="99076"/>
                      <a:pt x="83934" y="89797"/>
                    </a:cubicBezTo>
                    <a:cubicBezTo>
                      <a:pt x="104799" y="69150"/>
                      <a:pt x="104970" y="35497"/>
                      <a:pt x="84318" y="14642"/>
                    </a:cubicBezTo>
                    <a:cubicBezTo>
                      <a:pt x="81373" y="11661"/>
                      <a:pt x="78086" y="9047"/>
                      <a:pt x="74524" y="6842"/>
                    </a:cubicBezTo>
                    <a:cubicBezTo>
                      <a:pt x="68463" y="3140"/>
                      <a:pt x="61662" y="806"/>
                      <a:pt x="54605" y="0"/>
                    </a:cubicBezTo>
                    <a:cubicBezTo>
                      <a:pt x="108783" y="3690"/>
                      <a:pt x="150631" y="49071"/>
                      <a:pt x="149922" y="103359"/>
                    </a:cubicBezTo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12700" cap="flat">
                <a:solidFill>
                  <a:srgbClr val="C11B1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51" name="Freihandform 850">
                <a:extLst>
                  <a:ext uri="{FF2B5EF4-FFF2-40B4-BE49-F238E27FC236}">
                    <a16:creationId xmlns:a16="http://schemas.microsoft.com/office/drawing/2014/main" id="{5170FBFE-67AA-964B-A4ED-9739325E3C50}"/>
                  </a:ext>
                </a:extLst>
              </p:cNvPr>
              <p:cNvSpPr/>
              <p:nvPr/>
            </p:nvSpPr>
            <p:spPr>
              <a:xfrm>
                <a:off x="5372344" y="2846519"/>
                <a:ext cx="398379" cy="540755"/>
              </a:xfrm>
              <a:custGeom>
                <a:avLst/>
                <a:gdLst>
                  <a:gd name="connsiteX0" fmla="*/ 136469 w 152358"/>
                  <a:gd name="connsiteY0" fmla="*/ 90111 h 206809"/>
                  <a:gd name="connsiteX1" fmla="*/ 102680 w 152358"/>
                  <a:gd name="connsiteY1" fmla="*/ 104832 h 206809"/>
                  <a:gd name="connsiteX2" fmla="*/ 75857 w 152358"/>
                  <a:gd name="connsiteY2" fmla="*/ 112957 h 206809"/>
                  <a:gd name="connsiteX3" fmla="*/ 61223 w 152358"/>
                  <a:gd name="connsiteY3" fmla="*/ 185003 h 206809"/>
                  <a:gd name="connsiteX4" fmla="*/ 67547 w 152358"/>
                  <a:gd name="connsiteY4" fmla="*/ 192797 h 206809"/>
                  <a:gd name="connsiteX5" fmla="*/ 92354 w 152358"/>
                  <a:gd name="connsiteY5" fmla="*/ 206786 h 206809"/>
                  <a:gd name="connsiteX6" fmla="*/ 91254 w 152358"/>
                  <a:gd name="connsiteY6" fmla="*/ 206786 h 206809"/>
                  <a:gd name="connsiteX7" fmla="*/ 85144 w 152358"/>
                  <a:gd name="connsiteY7" fmla="*/ 205931 h 206809"/>
                  <a:gd name="connsiteX8" fmla="*/ 77934 w 152358"/>
                  <a:gd name="connsiteY8" fmla="*/ 204404 h 206809"/>
                  <a:gd name="connsiteX9" fmla="*/ 38280 w 152358"/>
                  <a:gd name="connsiteY9" fmla="*/ 184551 h 206809"/>
                  <a:gd name="connsiteX10" fmla="*/ 2047 w 152358"/>
                  <a:gd name="connsiteY10" fmla="*/ 84979 h 206809"/>
                  <a:gd name="connsiteX11" fmla="*/ 96264 w 152358"/>
                  <a:gd name="connsiteY11" fmla="*/ 252 h 206809"/>
                  <a:gd name="connsiteX12" fmla="*/ 106957 w 152358"/>
                  <a:gd name="connsiteY12" fmla="*/ 252 h 206809"/>
                  <a:gd name="connsiteX13" fmla="*/ 126876 w 152358"/>
                  <a:gd name="connsiteY13" fmla="*/ 7094 h 206809"/>
                  <a:gd name="connsiteX14" fmla="*/ 144546 w 152358"/>
                  <a:gd name="connsiteY14" fmla="*/ 80233 h 206809"/>
                  <a:gd name="connsiteX15" fmla="*/ 136713 w 152358"/>
                  <a:gd name="connsiteY15" fmla="*/ 90172 h 206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2358" h="206809">
                    <a:moveTo>
                      <a:pt x="136469" y="90111"/>
                    </a:moveTo>
                    <a:cubicBezTo>
                      <a:pt x="127713" y="99457"/>
                      <a:pt x="115487" y="104784"/>
                      <a:pt x="102680" y="104832"/>
                    </a:cubicBezTo>
                    <a:cubicBezTo>
                      <a:pt x="93142" y="104912"/>
                      <a:pt x="83830" y="107728"/>
                      <a:pt x="75857" y="112957"/>
                    </a:cubicBezTo>
                    <a:cubicBezTo>
                      <a:pt x="51917" y="128809"/>
                      <a:pt x="45361" y="161069"/>
                      <a:pt x="61223" y="185003"/>
                    </a:cubicBezTo>
                    <a:cubicBezTo>
                      <a:pt x="63074" y="187800"/>
                      <a:pt x="65195" y="190409"/>
                      <a:pt x="67547" y="192797"/>
                    </a:cubicBezTo>
                    <a:cubicBezTo>
                      <a:pt x="74427" y="199578"/>
                      <a:pt x="82987" y="204410"/>
                      <a:pt x="92354" y="206786"/>
                    </a:cubicBezTo>
                    <a:cubicBezTo>
                      <a:pt x="91987" y="206817"/>
                      <a:pt x="91621" y="206817"/>
                      <a:pt x="91254" y="206786"/>
                    </a:cubicBezTo>
                    <a:cubicBezTo>
                      <a:pt x="89115" y="206786"/>
                      <a:pt x="86977" y="206297"/>
                      <a:pt x="85144" y="205931"/>
                    </a:cubicBezTo>
                    <a:cubicBezTo>
                      <a:pt x="83311" y="205564"/>
                      <a:pt x="80317" y="205015"/>
                      <a:pt x="77934" y="204404"/>
                    </a:cubicBezTo>
                    <a:cubicBezTo>
                      <a:pt x="63319" y="201056"/>
                      <a:pt x="49718" y="194251"/>
                      <a:pt x="38280" y="184551"/>
                    </a:cubicBezTo>
                    <a:cubicBezTo>
                      <a:pt x="8426" y="160818"/>
                      <a:pt x="-5572" y="122340"/>
                      <a:pt x="2047" y="84979"/>
                    </a:cubicBezTo>
                    <a:cubicBezTo>
                      <a:pt x="9770" y="38181"/>
                      <a:pt x="48905" y="2989"/>
                      <a:pt x="96264" y="252"/>
                    </a:cubicBezTo>
                    <a:cubicBezTo>
                      <a:pt x="99820" y="-84"/>
                      <a:pt x="103401" y="-84"/>
                      <a:pt x="106957" y="252"/>
                    </a:cubicBezTo>
                    <a:cubicBezTo>
                      <a:pt x="114014" y="1058"/>
                      <a:pt x="120815" y="3392"/>
                      <a:pt x="126876" y="7094"/>
                    </a:cubicBezTo>
                    <a:cubicBezTo>
                      <a:pt x="151958" y="22414"/>
                      <a:pt x="159870" y="55157"/>
                      <a:pt x="144546" y="80233"/>
                    </a:cubicBezTo>
                    <a:cubicBezTo>
                      <a:pt x="142340" y="83849"/>
                      <a:pt x="139713" y="87184"/>
                      <a:pt x="136713" y="90172"/>
                    </a:cubicBezTo>
                  </a:path>
                </a:pathLst>
              </a:custGeom>
              <a:solidFill>
                <a:schemeClr val="tx1"/>
              </a:solidFill>
              <a:ln w="12700" cap="flat">
                <a:solidFill>
                  <a:srgbClr val="C11B1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852" name="Textfeld 851">
              <a:extLst>
                <a:ext uri="{FF2B5EF4-FFF2-40B4-BE49-F238E27FC236}">
                  <a16:creationId xmlns:a16="http://schemas.microsoft.com/office/drawing/2014/main" id="{FC8667EE-6C40-0545-AB2E-4C7784CC43C6}"/>
                </a:ext>
              </a:extLst>
            </p:cNvPr>
            <p:cNvSpPr txBox="1"/>
            <p:nvPr/>
          </p:nvSpPr>
          <p:spPr>
            <a:xfrm>
              <a:off x="3944272" y="4940520"/>
              <a:ext cx="824420" cy="2862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cs-CZ" sz="700" dirty="0"/>
                <a:t>Černá</a:t>
              </a:r>
              <a:r>
                <a:rPr lang="de-DE" sz="700" dirty="0"/>
                <a:t> &amp; </a:t>
              </a:r>
              <a:r>
                <a:rPr lang="cs-CZ" sz="700" dirty="0"/>
                <a:t>nešpinící</a:t>
              </a:r>
              <a:r>
                <a:rPr lang="de-DE" sz="700" dirty="0"/>
                <a:t> </a:t>
              </a:r>
              <a:r>
                <a:rPr lang="cs-CZ" sz="700" dirty="0"/>
                <a:t>verze</a:t>
              </a:r>
              <a:endParaRPr lang="de-DE" sz="700" dirty="0"/>
            </a:p>
          </p:txBody>
        </p:sp>
      </p:grpSp>
      <p:grpSp>
        <p:nvGrpSpPr>
          <p:cNvPr id="858" name="Gruppieren 857">
            <a:extLst>
              <a:ext uri="{FF2B5EF4-FFF2-40B4-BE49-F238E27FC236}">
                <a16:creationId xmlns:a16="http://schemas.microsoft.com/office/drawing/2014/main" id="{29FC0762-5B7F-5742-854D-58DA72FA3930}"/>
              </a:ext>
            </a:extLst>
          </p:cNvPr>
          <p:cNvGrpSpPr/>
          <p:nvPr/>
        </p:nvGrpSpPr>
        <p:grpSpPr>
          <a:xfrm>
            <a:off x="3280721" y="1764697"/>
            <a:ext cx="953129" cy="885600"/>
            <a:chOff x="4917134" y="1104799"/>
            <a:chExt cx="953129" cy="885600"/>
          </a:xfrm>
        </p:grpSpPr>
        <p:grpSp>
          <p:nvGrpSpPr>
            <p:cNvPr id="831" name="Gruppieren 830">
              <a:extLst>
                <a:ext uri="{FF2B5EF4-FFF2-40B4-BE49-F238E27FC236}">
                  <a16:creationId xmlns:a16="http://schemas.microsoft.com/office/drawing/2014/main" id="{02436FE6-EECB-CB40-B0FB-EBD19DB45BD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56905" y="1104799"/>
              <a:ext cx="847505" cy="885600"/>
              <a:chOff x="6960794" y="686398"/>
              <a:chExt cx="1880578" cy="1965113"/>
            </a:xfrm>
          </p:grpSpPr>
          <p:sp>
            <p:nvSpPr>
              <p:cNvPr id="832" name="Freihandform 831">
                <a:extLst>
                  <a:ext uri="{FF2B5EF4-FFF2-40B4-BE49-F238E27FC236}">
                    <a16:creationId xmlns:a16="http://schemas.microsoft.com/office/drawing/2014/main" id="{7A531D49-F808-4946-8503-D089ECDDBE80}"/>
                  </a:ext>
                </a:extLst>
              </p:cNvPr>
              <p:cNvSpPr/>
              <p:nvPr/>
            </p:nvSpPr>
            <p:spPr>
              <a:xfrm>
                <a:off x="6961113" y="905381"/>
                <a:ext cx="1880259" cy="346447"/>
              </a:xfrm>
              <a:custGeom>
                <a:avLst/>
                <a:gdLst>
                  <a:gd name="connsiteX0" fmla="*/ 680603 w 719096"/>
                  <a:gd name="connsiteY0" fmla="*/ 0 h 132497"/>
                  <a:gd name="connsiteX1" fmla="*/ 626773 w 719096"/>
                  <a:gd name="connsiteY1" fmla="*/ 0 h 132497"/>
                  <a:gd name="connsiteX2" fmla="*/ 626773 w 719096"/>
                  <a:gd name="connsiteY2" fmla="*/ 58338 h 132497"/>
                  <a:gd name="connsiteX3" fmla="*/ 590112 w 719096"/>
                  <a:gd name="connsiteY3" fmla="*/ 94990 h 132497"/>
                  <a:gd name="connsiteX4" fmla="*/ 553452 w 719096"/>
                  <a:gd name="connsiteY4" fmla="*/ 58338 h 132497"/>
                  <a:gd name="connsiteX5" fmla="*/ 553452 w 719096"/>
                  <a:gd name="connsiteY5" fmla="*/ 0 h 132497"/>
                  <a:gd name="connsiteX6" fmla="*/ 165644 w 719096"/>
                  <a:gd name="connsiteY6" fmla="*/ 0 h 132497"/>
                  <a:gd name="connsiteX7" fmla="*/ 165644 w 719096"/>
                  <a:gd name="connsiteY7" fmla="*/ 58338 h 132497"/>
                  <a:gd name="connsiteX8" fmla="*/ 128984 w 719096"/>
                  <a:gd name="connsiteY8" fmla="*/ 94990 h 132497"/>
                  <a:gd name="connsiteX9" fmla="*/ 92323 w 719096"/>
                  <a:gd name="connsiteY9" fmla="*/ 58338 h 132497"/>
                  <a:gd name="connsiteX10" fmla="*/ 92323 w 719096"/>
                  <a:gd name="connsiteY10" fmla="*/ 0 h 132497"/>
                  <a:gd name="connsiteX11" fmla="*/ 38494 w 719096"/>
                  <a:gd name="connsiteY11" fmla="*/ 0 h 132497"/>
                  <a:gd name="connsiteX12" fmla="*/ 0 w 719096"/>
                  <a:gd name="connsiteY12" fmla="*/ 38485 h 132497"/>
                  <a:gd name="connsiteX13" fmla="*/ 0 w 719096"/>
                  <a:gd name="connsiteY13" fmla="*/ 38546 h 132497"/>
                  <a:gd name="connsiteX14" fmla="*/ 0 w 719096"/>
                  <a:gd name="connsiteY14" fmla="*/ 93951 h 132497"/>
                  <a:gd name="connsiteX15" fmla="*/ 38433 w 719096"/>
                  <a:gd name="connsiteY15" fmla="*/ 132497 h 132497"/>
                  <a:gd name="connsiteX16" fmla="*/ 38494 w 719096"/>
                  <a:gd name="connsiteY16" fmla="*/ 132497 h 132497"/>
                  <a:gd name="connsiteX17" fmla="*/ 680603 w 719096"/>
                  <a:gd name="connsiteY17" fmla="*/ 132497 h 132497"/>
                  <a:gd name="connsiteX18" fmla="*/ 719096 w 719096"/>
                  <a:gd name="connsiteY18" fmla="*/ 94012 h 132497"/>
                  <a:gd name="connsiteX19" fmla="*/ 719096 w 719096"/>
                  <a:gd name="connsiteY19" fmla="*/ 93951 h 132497"/>
                  <a:gd name="connsiteX20" fmla="*/ 719096 w 719096"/>
                  <a:gd name="connsiteY20" fmla="*/ 38546 h 132497"/>
                  <a:gd name="connsiteX21" fmla="*/ 680664 w 719096"/>
                  <a:gd name="connsiteY21" fmla="*/ 0 h 132497"/>
                  <a:gd name="connsiteX22" fmla="*/ 680603 w 719096"/>
                  <a:gd name="connsiteY22" fmla="*/ 0 h 132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19096" h="132497">
                    <a:moveTo>
                      <a:pt x="680603" y="0"/>
                    </a:moveTo>
                    <a:lnTo>
                      <a:pt x="626773" y="0"/>
                    </a:lnTo>
                    <a:lnTo>
                      <a:pt x="626773" y="58338"/>
                    </a:lnTo>
                    <a:cubicBezTo>
                      <a:pt x="626773" y="78580"/>
                      <a:pt x="610361" y="94990"/>
                      <a:pt x="590112" y="94990"/>
                    </a:cubicBezTo>
                    <a:cubicBezTo>
                      <a:pt x="569863" y="94990"/>
                      <a:pt x="553452" y="78580"/>
                      <a:pt x="553452" y="58338"/>
                    </a:cubicBezTo>
                    <a:lnTo>
                      <a:pt x="553452" y="0"/>
                    </a:lnTo>
                    <a:lnTo>
                      <a:pt x="165644" y="0"/>
                    </a:lnTo>
                    <a:lnTo>
                      <a:pt x="165644" y="58338"/>
                    </a:lnTo>
                    <a:cubicBezTo>
                      <a:pt x="165644" y="78580"/>
                      <a:pt x="149233" y="94990"/>
                      <a:pt x="128984" y="94990"/>
                    </a:cubicBezTo>
                    <a:cubicBezTo>
                      <a:pt x="108735" y="94990"/>
                      <a:pt x="92323" y="78580"/>
                      <a:pt x="92323" y="58338"/>
                    </a:cubicBezTo>
                    <a:lnTo>
                      <a:pt x="92323" y="0"/>
                    </a:lnTo>
                    <a:lnTo>
                      <a:pt x="38494" y="0"/>
                    </a:lnTo>
                    <a:cubicBezTo>
                      <a:pt x="17237" y="0"/>
                      <a:pt x="0" y="17230"/>
                      <a:pt x="0" y="38485"/>
                    </a:cubicBezTo>
                    <a:cubicBezTo>
                      <a:pt x="0" y="38505"/>
                      <a:pt x="0" y="38526"/>
                      <a:pt x="0" y="38546"/>
                    </a:cubicBezTo>
                    <a:lnTo>
                      <a:pt x="0" y="93951"/>
                    </a:lnTo>
                    <a:cubicBezTo>
                      <a:pt x="-37" y="115206"/>
                      <a:pt x="17176" y="132463"/>
                      <a:pt x="38433" y="132497"/>
                    </a:cubicBezTo>
                    <a:cubicBezTo>
                      <a:pt x="38451" y="132497"/>
                      <a:pt x="38475" y="132497"/>
                      <a:pt x="38494" y="132497"/>
                    </a:cubicBezTo>
                    <a:lnTo>
                      <a:pt x="680603" y="132497"/>
                    </a:lnTo>
                    <a:cubicBezTo>
                      <a:pt x="701860" y="132497"/>
                      <a:pt x="719096" y="115267"/>
                      <a:pt x="719096" y="94012"/>
                    </a:cubicBezTo>
                    <a:cubicBezTo>
                      <a:pt x="719096" y="93992"/>
                      <a:pt x="719096" y="93971"/>
                      <a:pt x="719096" y="93951"/>
                    </a:cubicBezTo>
                    <a:lnTo>
                      <a:pt x="719096" y="38546"/>
                    </a:lnTo>
                    <a:cubicBezTo>
                      <a:pt x="719127" y="17291"/>
                      <a:pt x="701920" y="34"/>
                      <a:pt x="680664" y="0"/>
                    </a:cubicBezTo>
                    <a:cubicBezTo>
                      <a:pt x="680645" y="0"/>
                      <a:pt x="680621" y="0"/>
                      <a:pt x="680603" y="0"/>
                    </a:cubicBezTo>
                  </a:path>
                </a:pathLst>
              </a:custGeom>
              <a:solidFill>
                <a:schemeClr val="tx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3" name="Freihandform 832">
                <a:extLst>
                  <a:ext uri="{FF2B5EF4-FFF2-40B4-BE49-F238E27FC236}">
                    <a16:creationId xmlns:a16="http://schemas.microsoft.com/office/drawing/2014/main" id="{9064E49D-313D-7B43-B602-88B1767B520C}"/>
                  </a:ext>
                </a:extLst>
              </p:cNvPr>
              <p:cNvSpPr/>
              <p:nvPr/>
            </p:nvSpPr>
            <p:spPr>
              <a:xfrm>
                <a:off x="7233669" y="686398"/>
                <a:ext cx="126371" cy="425865"/>
              </a:xfrm>
              <a:custGeom>
                <a:avLst/>
                <a:gdLst>
                  <a:gd name="connsiteX0" fmla="*/ 24440 w 48330"/>
                  <a:gd name="connsiteY0" fmla="*/ 244 h 162870"/>
                  <a:gd name="connsiteX1" fmla="*/ 0 w 48330"/>
                  <a:gd name="connsiteY1" fmla="*/ 24679 h 162870"/>
                  <a:gd name="connsiteX2" fmla="*/ 0 w 48330"/>
                  <a:gd name="connsiteY2" fmla="*/ 142088 h 162870"/>
                  <a:gd name="connsiteX3" fmla="*/ 27819 w 48330"/>
                  <a:gd name="connsiteY3" fmla="*/ 162593 h 162870"/>
                  <a:gd name="connsiteX4" fmla="*/ 48331 w 48330"/>
                  <a:gd name="connsiteY4" fmla="*/ 142088 h 162870"/>
                  <a:gd name="connsiteX5" fmla="*/ 48331 w 48330"/>
                  <a:gd name="connsiteY5" fmla="*/ 24435 h 162870"/>
                  <a:gd name="connsiteX6" fmla="*/ 23890 w 48330"/>
                  <a:gd name="connsiteY6" fmla="*/ 0 h 16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330" h="162870">
                    <a:moveTo>
                      <a:pt x="24440" y="244"/>
                    </a:moveTo>
                    <a:cubicBezTo>
                      <a:pt x="10943" y="244"/>
                      <a:pt x="0" y="11184"/>
                      <a:pt x="0" y="24679"/>
                    </a:cubicBezTo>
                    <a:lnTo>
                      <a:pt x="0" y="142088"/>
                    </a:lnTo>
                    <a:cubicBezTo>
                      <a:pt x="2016" y="155431"/>
                      <a:pt x="14475" y="164611"/>
                      <a:pt x="27819" y="162593"/>
                    </a:cubicBezTo>
                    <a:cubicBezTo>
                      <a:pt x="38414" y="160990"/>
                      <a:pt x="46730" y="152678"/>
                      <a:pt x="48331" y="142088"/>
                    </a:cubicBezTo>
                    <a:lnTo>
                      <a:pt x="48331" y="24435"/>
                    </a:lnTo>
                    <a:cubicBezTo>
                      <a:pt x="48331" y="10940"/>
                      <a:pt x="37388" y="0"/>
                      <a:pt x="23890" y="0"/>
                    </a:cubicBezTo>
                  </a:path>
                </a:pathLst>
              </a:custGeom>
              <a:solidFill>
                <a:srgbClr val="C00000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4" name="Freihandform 833">
                <a:extLst>
                  <a:ext uri="{FF2B5EF4-FFF2-40B4-BE49-F238E27FC236}">
                    <a16:creationId xmlns:a16="http://schemas.microsoft.com/office/drawing/2014/main" id="{B1DCB295-C2BA-674A-AC75-7954737A99DD}"/>
                  </a:ext>
                </a:extLst>
              </p:cNvPr>
              <p:cNvSpPr/>
              <p:nvPr/>
            </p:nvSpPr>
            <p:spPr>
              <a:xfrm>
                <a:off x="8440046" y="686398"/>
                <a:ext cx="126371" cy="425865"/>
              </a:xfrm>
              <a:custGeom>
                <a:avLst/>
                <a:gdLst>
                  <a:gd name="connsiteX0" fmla="*/ 24440 w 48330"/>
                  <a:gd name="connsiteY0" fmla="*/ 244 h 162870"/>
                  <a:gd name="connsiteX1" fmla="*/ 0 w 48330"/>
                  <a:gd name="connsiteY1" fmla="*/ 24679 h 162870"/>
                  <a:gd name="connsiteX2" fmla="*/ 0 w 48330"/>
                  <a:gd name="connsiteY2" fmla="*/ 142088 h 162870"/>
                  <a:gd name="connsiteX3" fmla="*/ 27819 w 48330"/>
                  <a:gd name="connsiteY3" fmla="*/ 162593 h 162870"/>
                  <a:gd name="connsiteX4" fmla="*/ 48331 w 48330"/>
                  <a:gd name="connsiteY4" fmla="*/ 142088 h 162870"/>
                  <a:gd name="connsiteX5" fmla="*/ 48331 w 48330"/>
                  <a:gd name="connsiteY5" fmla="*/ 24435 h 162870"/>
                  <a:gd name="connsiteX6" fmla="*/ 23890 w 48330"/>
                  <a:gd name="connsiteY6" fmla="*/ 0 h 16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330" h="162870">
                    <a:moveTo>
                      <a:pt x="24440" y="244"/>
                    </a:moveTo>
                    <a:cubicBezTo>
                      <a:pt x="10943" y="244"/>
                      <a:pt x="0" y="11184"/>
                      <a:pt x="0" y="24679"/>
                    </a:cubicBezTo>
                    <a:lnTo>
                      <a:pt x="0" y="142088"/>
                    </a:lnTo>
                    <a:cubicBezTo>
                      <a:pt x="2016" y="155431"/>
                      <a:pt x="14475" y="164611"/>
                      <a:pt x="27819" y="162593"/>
                    </a:cubicBezTo>
                    <a:cubicBezTo>
                      <a:pt x="38414" y="160990"/>
                      <a:pt x="46730" y="152678"/>
                      <a:pt x="48331" y="142088"/>
                    </a:cubicBezTo>
                    <a:lnTo>
                      <a:pt x="48331" y="24435"/>
                    </a:lnTo>
                    <a:cubicBezTo>
                      <a:pt x="48331" y="10940"/>
                      <a:pt x="37388" y="0"/>
                      <a:pt x="23890" y="0"/>
                    </a:cubicBezTo>
                  </a:path>
                </a:pathLst>
              </a:custGeom>
              <a:solidFill>
                <a:srgbClr val="C00000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5" name="Freihandform 834">
                <a:extLst>
                  <a:ext uri="{FF2B5EF4-FFF2-40B4-BE49-F238E27FC236}">
                    <a16:creationId xmlns:a16="http://schemas.microsoft.com/office/drawing/2014/main" id="{04805EAE-E230-0347-A8E2-29D262783353}"/>
                  </a:ext>
                </a:extLst>
              </p:cNvPr>
              <p:cNvSpPr/>
              <p:nvPr/>
            </p:nvSpPr>
            <p:spPr>
              <a:xfrm>
                <a:off x="6960794" y="1316039"/>
                <a:ext cx="1880578" cy="1335472"/>
              </a:xfrm>
              <a:custGeom>
                <a:avLst/>
                <a:gdLst>
                  <a:gd name="connsiteX0" fmla="*/ 660378 w 719218"/>
                  <a:gd name="connsiteY0" fmla="*/ 156443 h 510745"/>
                  <a:gd name="connsiteX1" fmla="*/ 517830 w 719218"/>
                  <a:gd name="connsiteY1" fmla="*/ 156443 h 510745"/>
                  <a:gd name="connsiteX2" fmla="*/ 517830 w 719218"/>
                  <a:gd name="connsiteY2" fmla="*/ 63164 h 510745"/>
                  <a:gd name="connsiteX3" fmla="*/ 660378 w 719218"/>
                  <a:gd name="connsiteY3" fmla="*/ 63164 h 510745"/>
                  <a:gd name="connsiteX4" fmla="*/ 426178 w 719218"/>
                  <a:gd name="connsiteY4" fmla="*/ 156443 h 510745"/>
                  <a:gd name="connsiteX5" fmla="*/ 283630 w 719218"/>
                  <a:gd name="connsiteY5" fmla="*/ 156443 h 510745"/>
                  <a:gd name="connsiteX6" fmla="*/ 283630 w 719218"/>
                  <a:gd name="connsiteY6" fmla="*/ 63164 h 510745"/>
                  <a:gd name="connsiteX7" fmla="*/ 426117 w 719218"/>
                  <a:gd name="connsiteY7" fmla="*/ 63164 h 510745"/>
                  <a:gd name="connsiteX8" fmla="*/ 191979 w 719218"/>
                  <a:gd name="connsiteY8" fmla="*/ 156443 h 510745"/>
                  <a:gd name="connsiteX9" fmla="*/ 49369 w 719218"/>
                  <a:gd name="connsiteY9" fmla="*/ 156443 h 510745"/>
                  <a:gd name="connsiteX10" fmla="*/ 49369 w 719218"/>
                  <a:gd name="connsiteY10" fmla="*/ 63164 h 510745"/>
                  <a:gd name="connsiteX11" fmla="*/ 191796 w 719218"/>
                  <a:gd name="connsiteY11" fmla="*/ 63164 h 510745"/>
                  <a:gd name="connsiteX12" fmla="*/ 680786 w 719218"/>
                  <a:gd name="connsiteY12" fmla="*/ 0 h 510745"/>
                  <a:gd name="connsiteX13" fmla="*/ 38493 w 719218"/>
                  <a:gd name="connsiteY13" fmla="*/ 0 h 510745"/>
                  <a:gd name="connsiteX14" fmla="*/ 0 w 719218"/>
                  <a:gd name="connsiteY14" fmla="*/ 38485 h 510745"/>
                  <a:gd name="connsiteX15" fmla="*/ 0 w 719218"/>
                  <a:gd name="connsiteY15" fmla="*/ 472200 h 510745"/>
                  <a:gd name="connsiteX16" fmla="*/ 38493 w 719218"/>
                  <a:gd name="connsiteY16" fmla="*/ 510746 h 510745"/>
                  <a:gd name="connsiteX17" fmla="*/ 680725 w 719218"/>
                  <a:gd name="connsiteY17" fmla="*/ 510746 h 510745"/>
                  <a:gd name="connsiteX18" fmla="*/ 719218 w 719218"/>
                  <a:gd name="connsiteY18" fmla="*/ 472200 h 510745"/>
                  <a:gd name="connsiteX19" fmla="*/ 719218 w 719218"/>
                  <a:gd name="connsiteY19" fmla="*/ 38485 h 510745"/>
                  <a:gd name="connsiteX20" fmla="*/ 680725 w 719218"/>
                  <a:gd name="connsiteY20" fmla="*/ 0 h 510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19218" h="510745">
                    <a:moveTo>
                      <a:pt x="660378" y="156443"/>
                    </a:moveTo>
                    <a:lnTo>
                      <a:pt x="517830" y="156443"/>
                    </a:lnTo>
                    <a:lnTo>
                      <a:pt x="517830" y="63164"/>
                    </a:lnTo>
                    <a:lnTo>
                      <a:pt x="660378" y="63164"/>
                    </a:lnTo>
                    <a:close/>
                    <a:moveTo>
                      <a:pt x="426178" y="156443"/>
                    </a:moveTo>
                    <a:lnTo>
                      <a:pt x="283630" y="156443"/>
                    </a:lnTo>
                    <a:lnTo>
                      <a:pt x="283630" y="63164"/>
                    </a:lnTo>
                    <a:lnTo>
                      <a:pt x="426117" y="63164"/>
                    </a:lnTo>
                    <a:close/>
                    <a:moveTo>
                      <a:pt x="191979" y="156443"/>
                    </a:moveTo>
                    <a:lnTo>
                      <a:pt x="49369" y="156443"/>
                    </a:lnTo>
                    <a:lnTo>
                      <a:pt x="49369" y="63164"/>
                    </a:lnTo>
                    <a:lnTo>
                      <a:pt x="191796" y="63164"/>
                    </a:lnTo>
                    <a:close/>
                    <a:moveTo>
                      <a:pt x="680786" y="0"/>
                    </a:moveTo>
                    <a:lnTo>
                      <a:pt x="38493" y="0"/>
                    </a:lnTo>
                    <a:cubicBezTo>
                      <a:pt x="17236" y="0"/>
                      <a:pt x="0" y="17230"/>
                      <a:pt x="0" y="38485"/>
                    </a:cubicBezTo>
                    <a:lnTo>
                      <a:pt x="0" y="472200"/>
                    </a:lnTo>
                    <a:cubicBezTo>
                      <a:pt x="0" y="493464"/>
                      <a:pt x="17224" y="510709"/>
                      <a:pt x="38493" y="510746"/>
                    </a:cubicBezTo>
                    <a:lnTo>
                      <a:pt x="680725" y="510746"/>
                    </a:lnTo>
                    <a:cubicBezTo>
                      <a:pt x="701994" y="510709"/>
                      <a:pt x="719218" y="493464"/>
                      <a:pt x="719218" y="472200"/>
                    </a:cubicBezTo>
                    <a:lnTo>
                      <a:pt x="719218" y="38485"/>
                    </a:lnTo>
                    <a:cubicBezTo>
                      <a:pt x="719218" y="17230"/>
                      <a:pt x="701982" y="0"/>
                      <a:pt x="680725" y="0"/>
                    </a:cubicBezTo>
                  </a:path>
                </a:pathLst>
              </a:custGeom>
              <a:solidFill>
                <a:srgbClr val="C00000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856" name="Textfeld 855">
              <a:extLst>
                <a:ext uri="{FF2B5EF4-FFF2-40B4-BE49-F238E27FC236}">
                  <a16:creationId xmlns:a16="http://schemas.microsoft.com/office/drawing/2014/main" id="{AF058CF1-1E3E-CF4F-B7DC-EDC5A771B68B}"/>
                </a:ext>
              </a:extLst>
            </p:cNvPr>
            <p:cNvSpPr txBox="1"/>
            <p:nvPr/>
          </p:nvSpPr>
          <p:spPr>
            <a:xfrm>
              <a:off x="4917134" y="1574480"/>
              <a:ext cx="8069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dirty="0">
                  <a:solidFill>
                    <a:schemeClr val="bg1"/>
                  </a:solidFill>
                </a:rPr>
                <a:t>&lt; 2.000</a:t>
              </a:r>
            </a:p>
          </p:txBody>
        </p:sp>
        <p:sp>
          <p:nvSpPr>
            <p:cNvPr id="857" name="Textfeld 856">
              <a:extLst>
                <a:ext uri="{FF2B5EF4-FFF2-40B4-BE49-F238E27FC236}">
                  <a16:creationId xmlns:a16="http://schemas.microsoft.com/office/drawing/2014/main" id="{288E8E8C-F333-1740-B13D-C47999F5CFE1}"/>
                </a:ext>
              </a:extLst>
            </p:cNvPr>
            <p:cNvSpPr txBox="1"/>
            <p:nvPr/>
          </p:nvSpPr>
          <p:spPr>
            <a:xfrm>
              <a:off x="4917134" y="1780447"/>
              <a:ext cx="953129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dirty="0"/>
                <a:t>motohodin za rok</a:t>
              </a:r>
              <a:endParaRPr lang="de-DE" sz="700" dirty="0"/>
            </a:p>
          </p:txBody>
        </p:sp>
      </p:grpSp>
      <p:grpSp>
        <p:nvGrpSpPr>
          <p:cNvPr id="866" name="Gruppieren 865">
            <a:extLst>
              <a:ext uri="{FF2B5EF4-FFF2-40B4-BE49-F238E27FC236}">
                <a16:creationId xmlns:a16="http://schemas.microsoft.com/office/drawing/2014/main" id="{4898E3B9-5C51-7B4E-BBF4-98EA09C70AB8}"/>
              </a:ext>
            </a:extLst>
          </p:cNvPr>
          <p:cNvGrpSpPr/>
          <p:nvPr/>
        </p:nvGrpSpPr>
        <p:grpSpPr>
          <a:xfrm>
            <a:off x="4248513" y="704646"/>
            <a:ext cx="1268806" cy="678850"/>
            <a:chOff x="1982856" y="604007"/>
            <a:chExt cx="1268806" cy="678850"/>
          </a:xfrm>
        </p:grpSpPr>
        <p:sp>
          <p:nvSpPr>
            <p:cNvPr id="867" name="Textfeld 866">
              <a:extLst>
                <a:ext uri="{FF2B5EF4-FFF2-40B4-BE49-F238E27FC236}">
                  <a16:creationId xmlns:a16="http://schemas.microsoft.com/office/drawing/2014/main" id="{EC95C9C2-C909-574B-A8E9-66423B356B10}"/>
                </a:ext>
              </a:extLst>
            </p:cNvPr>
            <p:cNvSpPr txBox="1"/>
            <p:nvPr/>
          </p:nvSpPr>
          <p:spPr>
            <a:xfrm>
              <a:off x="2130093" y="636526"/>
              <a:ext cx="112156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3600" dirty="0"/>
                <a:t>20</a:t>
              </a:r>
              <a:endParaRPr lang="de-DE" sz="8000" dirty="0"/>
            </a:p>
          </p:txBody>
        </p:sp>
        <p:sp>
          <p:nvSpPr>
            <p:cNvPr id="868" name="Textfeld 867">
              <a:extLst>
                <a:ext uri="{FF2B5EF4-FFF2-40B4-BE49-F238E27FC236}">
                  <a16:creationId xmlns:a16="http://schemas.microsoft.com/office/drawing/2014/main" id="{8A26767D-7311-3143-B0DC-EAA51086F54D}"/>
                </a:ext>
              </a:extLst>
            </p:cNvPr>
            <p:cNvSpPr txBox="1"/>
            <p:nvPr/>
          </p:nvSpPr>
          <p:spPr>
            <a:xfrm>
              <a:off x="2108573" y="604007"/>
              <a:ext cx="83055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800" dirty="0"/>
                <a:t>Velikost </a:t>
              </a:r>
              <a:r>
                <a:rPr lang="cs-CZ" sz="800" dirty="0" err="1"/>
                <a:t>fleetu</a:t>
              </a:r>
              <a:endParaRPr lang="de-DE" sz="800" dirty="0"/>
            </a:p>
          </p:txBody>
        </p:sp>
        <p:sp>
          <p:nvSpPr>
            <p:cNvPr id="869" name="Rechteck 868">
              <a:extLst>
                <a:ext uri="{FF2B5EF4-FFF2-40B4-BE49-F238E27FC236}">
                  <a16:creationId xmlns:a16="http://schemas.microsoft.com/office/drawing/2014/main" id="{BE5E3988-AE9C-B540-9DE9-6C60BCDC0A1C}"/>
                </a:ext>
              </a:extLst>
            </p:cNvPr>
            <p:cNvSpPr/>
            <p:nvPr/>
          </p:nvSpPr>
          <p:spPr>
            <a:xfrm>
              <a:off x="1982856" y="767589"/>
              <a:ext cx="356188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de-DE" dirty="0"/>
                <a:t>&lt;</a:t>
              </a:r>
              <a:endParaRPr lang="de-DE" sz="2801" dirty="0"/>
            </a:p>
          </p:txBody>
        </p:sp>
      </p:grpSp>
      <p:sp>
        <p:nvSpPr>
          <p:cNvPr id="871" name="Freihandform 870">
            <a:extLst>
              <a:ext uri="{FF2B5EF4-FFF2-40B4-BE49-F238E27FC236}">
                <a16:creationId xmlns:a16="http://schemas.microsoft.com/office/drawing/2014/main" id="{32CF80E3-9C62-C943-8791-AEAE98ED3DFF}"/>
              </a:ext>
            </a:extLst>
          </p:cNvPr>
          <p:cNvSpPr/>
          <p:nvPr/>
        </p:nvSpPr>
        <p:spPr>
          <a:xfrm flipV="1">
            <a:off x="6660232" y="2544741"/>
            <a:ext cx="1018948" cy="1138268"/>
          </a:xfrm>
          <a:custGeom>
            <a:avLst/>
            <a:gdLst>
              <a:gd name="connsiteX0" fmla="*/ 0 w 1723929"/>
              <a:gd name="connsiteY0" fmla="*/ 2700 h 1453905"/>
              <a:gd name="connsiteX1" fmla="*/ 556736 w 1723929"/>
              <a:gd name="connsiteY1" fmla="*/ 257764 h 1453905"/>
              <a:gd name="connsiteX2" fmla="*/ 860298 w 1723929"/>
              <a:gd name="connsiteY2" fmla="*/ 771114 h 1453905"/>
              <a:gd name="connsiteX3" fmla="*/ 1462659 w 1723929"/>
              <a:gd name="connsiteY3" fmla="*/ 1050166 h 1453905"/>
              <a:gd name="connsiteX4" fmla="*/ 1723930 w 1723929"/>
              <a:gd name="connsiteY4" fmla="*/ 1453905 h 1453905"/>
              <a:gd name="connsiteX0" fmla="*/ 0 w 1167194"/>
              <a:gd name="connsiteY0" fmla="*/ 0 h 1196141"/>
              <a:gd name="connsiteX1" fmla="*/ 303562 w 1167194"/>
              <a:gd name="connsiteY1" fmla="*/ 513350 h 1196141"/>
              <a:gd name="connsiteX2" fmla="*/ 905923 w 1167194"/>
              <a:gd name="connsiteY2" fmla="*/ 792402 h 1196141"/>
              <a:gd name="connsiteX3" fmla="*/ 1167194 w 1167194"/>
              <a:gd name="connsiteY3" fmla="*/ 1196141 h 1196141"/>
              <a:gd name="connsiteX0" fmla="*/ 0 w 863632"/>
              <a:gd name="connsiteY0" fmla="*/ 933 h 683724"/>
              <a:gd name="connsiteX1" fmla="*/ 602361 w 863632"/>
              <a:gd name="connsiteY1" fmla="*/ 279985 h 683724"/>
              <a:gd name="connsiteX2" fmla="*/ 863632 w 863632"/>
              <a:gd name="connsiteY2" fmla="*/ 683724 h 683724"/>
              <a:gd name="connsiteX0" fmla="*/ 0 w 863632"/>
              <a:gd name="connsiteY0" fmla="*/ 0 h 682791"/>
              <a:gd name="connsiteX1" fmla="*/ 464831 w 863632"/>
              <a:gd name="connsiteY1" fmla="*/ 367101 h 682791"/>
              <a:gd name="connsiteX2" fmla="*/ 863632 w 863632"/>
              <a:gd name="connsiteY2" fmla="*/ 682791 h 682791"/>
              <a:gd name="connsiteX0" fmla="*/ 0 w 863632"/>
              <a:gd name="connsiteY0" fmla="*/ 0 h 682791"/>
              <a:gd name="connsiteX1" fmla="*/ 464831 w 863632"/>
              <a:gd name="connsiteY1" fmla="*/ 367101 h 682791"/>
              <a:gd name="connsiteX2" fmla="*/ 863632 w 863632"/>
              <a:gd name="connsiteY2" fmla="*/ 682791 h 682791"/>
              <a:gd name="connsiteX0" fmla="*/ 0 w 863632"/>
              <a:gd name="connsiteY0" fmla="*/ 0 h 697575"/>
              <a:gd name="connsiteX1" fmla="*/ 464831 w 863632"/>
              <a:gd name="connsiteY1" fmla="*/ 367101 h 697575"/>
              <a:gd name="connsiteX2" fmla="*/ 863632 w 863632"/>
              <a:gd name="connsiteY2" fmla="*/ 682791 h 697575"/>
              <a:gd name="connsiteX0" fmla="*/ 0 w 863632"/>
              <a:gd name="connsiteY0" fmla="*/ 0 h 682963"/>
              <a:gd name="connsiteX1" fmla="*/ 464831 w 863632"/>
              <a:gd name="connsiteY1" fmla="*/ 367101 h 682963"/>
              <a:gd name="connsiteX2" fmla="*/ 863632 w 863632"/>
              <a:gd name="connsiteY2" fmla="*/ 682791 h 682963"/>
              <a:gd name="connsiteX0" fmla="*/ 0 w 863632"/>
              <a:gd name="connsiteY0" fmla="*/ 0 h 682963"/>
              <a:gd name="connsiteX1" fmla="*/ 464831 w 863632"/>
              <a:gd name="connsiteY1" fmla="*/ 367101 h 682963"/>
              <a:gd name="connsiteX2" fmla="*/ 863632 w 863632"/>
              <a:gd name="connsiteY2" fmla="*/ 682791 h 682963"/>
              <a:gd name="connsiteX0" fmla="*/ 0 w 863632"/>
              <a:gd name="connsiteY0" fmla="*/ 0 h 683269"/>
              <a:gd name="connsiteX1" fmla="*/ 364227 w 863632"/>
              <a:gd name="connsiteY1" fmla="*/ 392734 h 683269"/>
              <a:gd name="connsiteX2" fmla="*/ 863632 w 863632"/>
              <a:gd name="connsiteY2" fmla="*/ 682791 h 683269"/>
              <a:gd name="connsiteX0" fmla="*/ 0 w 863632"/>
              <a:gd name="connsiteY0" fmla="*/ 0 h 682815"/>
              <a:gd name="connsiteX1" fmla="*/ 364227 w 863632"/>
              <a:gd name="connsiteY1" fmla="*/ 392734 h 682815"/>
              <a:gd name="connsiteX2" fmla="*/ 863632 w 863632"/>
              <a:gd name="connsiteY2" fmla="*/ 682791 h 682815"/>
              <a:gd name="connsiteX0" fmla="*/ 0 w 863632"/>
              <a:gd name="connsiteY0" fmla="*/ 0 h 682815"/>
              <a:gd name="connsiteX1" fmla="*/ 364227 w 863632"/>
              <a:gd name="connsiteY1" fmla="*/ 392734 h 682815"/>
              <a:gd name="connsiteX2" fmla="*/ 863632 w 863632"/>
              <a:gd name="connsiteY2" fmla="*/ 682791 h 682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63632" h="682815">
                <a:moveTo>
                  <a:pt x="0" y="0"/>
                </a:moveTo>
                <a:cubicBezTo>
                  <a:pt x="152495" y="38307"/>
                  <a:pt x="183717" y="-19864"/>
                  <a:pt x="364227" y="392734"/>
                </a:cubicBezTo>
                <a:cubicBezTo>
                  <a:pt x="406378" y="477031"/>
                  <a:pt x="601711" y="685399"/>
                  <a:pt x="863632" y="682791"/>
                </a:cubicBezTo>
              </a:path>
            </a:pathLst>
          </a:custGeom>
          <a:noFill/>
          <a:ln w="12700" cap="flat">
            <a:solidFill>
              <a:srgbClr val="1D1D1B"/>
            </a:solidFill>
            <a:prstDash val="dash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72" name="Freihandform 871">
            <a:extLst>
              <a:ext uri="{FF2B5EF4-FFF2-40B4-BE49-F238E27FC236}">
                <a16:creationId xmlns:a16="http://schemas.microsoft.com/office/drawing/2014/main" id="{81310010-711A-EA4A-ADEC-28A8990ECDFB}"/>
              </a:ext>
            </a:extLst>
          </p:cNvPr>
          <p:cNvSpPr>
            <a:spLocks noChangeAspect="1"/>
          </p:cNvSpPr>
          <p:nvPr/>
        </p:nvSpPr>
        <p:spPr>
          <a:xfrm>
            <a:off x="6575042" y="3416609"/>
            <a:ext cx="170379" cy="266400"/>
          </a:xfrm>
          <a:custGeom>
            <a:avLst/>
            <a:gdLst>
              <a:gd name="connsiteX0" fmla="*/ 76254 w 152446"/>
              <a:gd name="connsiteY0" fmla="*/ 120035 h 238360"/>
              <a:gd name="connsiteX1" fmla="*/ 33850 w 152446"/>
              <a:gd name="connsiteY1" fmla="*/ 77763 h 238360"/>
              <a:gd name="connsiteX2" fmla="*/ 76132 w 152446"/>
              <a:gd name="connsiteY2" fmla="*/ 35369 h 238360"/>
              <a:gd name="connsiteX3" fmla="*/ 118536 w 152446"/>
              <a:gd name="connsiteY3" fmla="*/ 77641 h 238360"/>
              <a:gd name="connsiteX4" fmla="*/ 118536 w 152446"/>
              <a:gd name="connsiteY4" fmla="*/ 77702 h 238360"/>
              <a:gd name="connsiteX5" fmla="*/ 76254 w 152446"/>
              <a:gd name="connsiteY5" fmla="*/ 120035 h 238360"/>
              <a:gd name="connsiteX6" fmla="*/ 76254 w 152446"/>
              <a:gd name="connsiteY6" fmla="*/ 122 h 238360"/>
              <a:gd name="connsiteX7" fmla="*/ 0 w 152446"/>
              <a:gd name="connsiteY7" fmla="*/ 76358 h 238360"/>
              <a:gd name="connsiteX8" fmla="*/ 76254 w 152446"/>
              <a:gd name="connsiteY8" fmla="*/ 238360 h 238360"/>
              <a:gd name="connsiteX9" fmla="*/ 152447 w 152446"/>
              <a:gd name="connsiteY9" fmla="*/ 76358 h 238360"/>
              <a:gd name="connsiteX10" fmla="*/ 76315 w 152446"/>
              <a:gd name="connsiteY10" fmla="*/ 0 h 238360"/>
              <a:gd name="connsiteX11" fmla="*/ 76254 w 152446"/>
              <a:gd name="connsiteY11" fmla="*/ 0 h 238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2446" h="238360">
                <a:moveTo>
                  <a:pt x="76254" y="120035"/>
                </a:moveTo>
                <a:cubicBezTo>
                  <a:pt x="52871" y="120072"/>
                  <a:pt x="33887" y="101141"/>
                  <a:pt x="33850" y="77763"/>
                </a:cubicBezTo>
                <a:cubicBezTo>
                  <a:pt x="33813" y="54385"/>
                  <a:pt x="52749" y="35406"/>
                  <a:pt x="76132" y="35369"/>
                </a:cubicBezTo>
                <a:cubicBezTo>
                  <a:pt x="99515" y="35333"/>
                  <a:pt x="118499" y="54263"/>
                  <a:pt x="118536" y="77641"/>
                </a:cubicBezTo>
                <a:cubicBezTo>
                  <a:pt x="118536" y="77660"/>
                  <a:pt x="118536" y="77684"/>
                  <a:pt x="118536" y="77702"/>
                </a:cubicBezTo>
                <a:cubicBezTo>
                  <a:pt x="118536" y="101056"/>
                  <a:pt x="99613" y="119999"/>
                  <a:pt x="76254" y="120035"/>
                </a:cubicBezTo>
                <a:moveTo>
                  <a:pt x="76254" y="122"/>
                </a:moveTo>
                <a:cubicBezTo>
                  <a:pt x="34137" y="122"/>
                  <a:pt x="0" y="34251"/>
                  <a:pt x="0" y="76358"/>
                </a:cubicBezTo>
                <a:cubicBezTo>
                  <a:pt x="0" y="118447"/>
                  <a:pt x="76254" y="238360"/>
                  <a:pt x="76254" y="238360"/>
                </a:cubicBezTo>
                <a:cubicBezTo>
                  <a:pt x="76254" y="238360"/>
                  <a:pt x="152447" y="118447"/>
                  <a:pt x="152447" y="76358"/>
                </a:cubicBezTo>
                <a:cubicBezTo>
                  <a:pt x="152514" y="34257"/>
                  <a:pt x="118432" y="67"/>
                  <a:pt x="76315" y="0"/>
                </a:cubicBezTo>
                <a:cubicBezTo>
                  <a:pt x="76297" y="0"/>
                  <a:pt x="76272" y="0"/>
                  <a:pt x="76254" y="0"/>
                </a:cubicBezTo>
              </a:path>
            </a:pathLst>
          </a:custGeom>
          <a:solidFill>
            <a:srgbClr val="F1D100"/>
          </a:solidFill>
          <a:ln w="6099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873" name="Gruppieren 872">
            <a:extLst>
              <a:ext uri="{FF2B5EF4-FFF2-40B4-BE49-F238E27FC236}">
                <a16:creationId xmlns:a16="http://schemas.microsoft.com/office/drawing/2014/main" id="{A4069117-0120-6A4B-BF3A-53C604C45E06}"/>
              </a:ext>
            </a:extLst>
          </p:cNvPr>
          <p:cNvGrpSpPr/>
          <p:nvPr/>
        </p:nvGrpSpPr>
        <p:grpSpPr>
          <a:xfrm>
            <a:off x="7607172" y="2334878"/>
            <a:ext cx="1270653" cy="567188"/>
            <a:chOff x="11370885" y="3853215"/>
            <a:chExt cx="1928348" cy="860767"/>
          </a:xfrm>
        </p:grpSpPr>
        <p:sp>
          <p:nvSpPr>
            <p:cNvPr id="874" name="Freihandform 873">
              <a:extLst>
                <a:ext uri="{FF2B5EF4-FFF2-40B4-BE49-F238E27FC236}">
                  <a16:creationId xmlns:a16="http://schemas.microsoft.com/office/drawing/2014/main" id="{B2C3266A-8458-0A4D-971C-C21C6E6FA39F}"/>
                </a:ext>
              </a:extLst>
            </p:cNvPr>
            <p:cNvSpPr/>
            <p:nvPr/>
          </p:nvSpPr>
          <p:spPr>
            <a:xfrm>
              <a:off x="11370885" y="4498351"/>
              <a:ext cx="1205577" cy="34021"/>
            </a:xfrm>
            <a:custGeom>
              <a:avLst/>
              <a:gdLst>
                <a:gd name="connsiteX0" fmla="*/ 0 w 461067"/>
                <a:gd name="connsiteY0" fmla="*/ 4520 h 13011"/>
                <a:gd name="connsiteX1" fmla="*/ 1650 w 461067"/>
                <a:gd name="connsiteY1" fmla="*/ 11484 h 13011"/>
                <a:gd name="connsiteX2" fmla="*/ 461067 w 461067"/>
                <a:gd name="connsiteY2" fmla="*/ 13011 h 13011"/>
                <a:gd name="connsiteX3" fmla="*/ 457829 w 461067"/>
                <a:gd name="connsiteY3" fmla="*/ 0 h 13011"/>
                <a:gd name="connsiteX4" fmla="*/ 0 w 461067"/>
                <a:gd name="connsiteY4" fmla="*/ 4520 h 13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1067" h="13011">
                  <a:moveTo>
                    <a:pt x="0" y="4520"/>
                  </a:moveTo>
                  <a:lnTo>
                    <a:pt x="1650" y="11484"/>
                  </a:lnTo>
                  <a:lnTo>
                    <a:pt x="461067" y="13011"/>
                  </a:lnTo>
                  <a:lnTo>
                    <a:pt x="457829" y="0"/>
                  </a:lnTo>
                  <a:lnTo>
                    <a:pt x="0" y="4520"/>
                  </a:lnTo>
                  <a:close/>
                </a:path>
              </a:pathLst>
            </a:custGeom>
            <a:solidFill>
              <a:srgbClr val="003971"/>
            </a:solidFill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75" name="Grafik 5">
              <a:extLst>
                <a:ext uri="{FF2B5EF4-FFF2-40B4-BE49-F238E27FC236}">
                  <a16:creationId xmlns:a16="http://schemas.microsoft.com/office/drawing/2014/main" id="{17062C13-5D89-154D-B86F-94AC52D63E68}"/>
                </a:ext>
              </a:extLst>
            </p:cNvPr>
            <p:cNvGrpSpPr/>
            <p:nvPr/>
          </p:nvGrpSpPr>
          <p:grpSpPr>
            <a:xfrm>
              <a:off x="12771560" y="3955920"/>
              <a:ext cx="320339" cy="308486"/>
              <a:chOff x="-1528105" y="3597277"/>
              <a:chExt cx="122512" cy="117979"/>
            </a:xfrm>
            <a:solidFill>
              <a:srgbClr val="003971"/>
            </a:solidFill>
          </p:grpSpPr>
          <p:sp>
            <p:nvSpPr>
              <p:cNvPr id="882" name="Freihandform 881">
                <a:extLst>
                  <a:ext uri="{FF2B5EF4-FFF2-40B4-BE49-F238E27FC236}">
                    <a16:creationId xmlns:a16="http://schemas.microsoft.com/office/drawing/2014/main" id="{EC0854C0-A141-0545-A33F-EE4DA212E867}"/>
                  </a:ext>
                </a:extLst>
              </p:cNvPr>
              <p:cNvSpPr/>
              <p:nvPr/>
            </p:nvSpPr>
            <p:spPr>
              <a:xfrm>
                <a:off x="-1459299" y="3635389"/>
                <a:ext cx="53706" cy="79867"/>
              </a:xfrm>
              <a:custGeom>
                <a:avLst/>
                <a:gdLst>
                  <a:gd name="connsiteX0" fmla="*/ 53080 w 53706"/>
                  <a:gd name="connsiteY0" fmla="*/ 64635 h 79867"/>
                  <a:gd name="connsiteX1" fmla="*/ 25768 w 53706"/>
                  <a:gd name="connsiteY1" fmla="*/ 494 h 79867"/>
                  <a:gd name="connsiteX2" fmla="*/ 13548 w 53706"/>
                  <a:gd name="connsiteY2" fmla="*/ 1350 h 79867"/>
                  <a:gd name="connsiteX3" fmla="*/ 1328 w 53706"/>
                  <a:gd name="connsiteY3" fmla="*/ 29449 h 79867"/>
                  <a:gd name="connsiteX4" fmla="*/ 4505 w 53706"/>
                  <a:gd name="connsiteY4" fmla="*/ 64147 h 79867"/>
                  <a:gd name="connsiteX5" fmla="*/ 25341 w 53706"/>
                  <a:gd name="connsiteY5" fmla="*/ 79724 h 79867"/>
                  <a:gd name="connsiteX6" fmla="*/ 37072 w 53706"/>
                  <a:gd name="connsiteY6" fmla="*/ 78441 h 79867"/>
                  <a:gd name="connsiteX7" fmla="*/ 52958 w 53706"/>
                  <a:gd name="connsiteY7" fmla="*/ 64635 h 79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3706" h="79867">
                    <a:moveTo>
                      <a:pt x="53080" y="64635"/>
                    </a:moveTo>
                    <a:cubicBezTo>
                      <a:pt x="54730" y="44660"/>
                      <a:pt x="55280" y="6725"/>
                      <a:pt x="25768" y="494"/>
                    </a:cubicBezTo>
                    <a:cubicBezTo>
                      <a:pt x="21699" y="-385"/>
                      <a:pt x="17459" y="-86"/>
                      <a:pt x="13548" y="1350"/>
                    </a:cubicBezTo>
                    <a:cubicBezTo>
                      <a:pt x="6338" y="4099"/>
                      <a:pt x="-3621" y="11246"/>
                      <a:pt x="1328" y="29449"/>
                    </a:cubicBezTo>
                    <a:cubicBezTo>
                      <a:pt x="4249" y="40769"/>
                      <a:pt x="5318" y="52485"/>
                      <a:pt x="4505" y="64147"/>
                    </a:cubicBezTo>
                    <a:cubicBezTo>
                      <a:pt x="3894" y="73493"/>
                      <a:pt x="13915" y="81007"/>
                      <a:pt x="25341" y="79724"/>
                    </a:cubicBezTo>
                    <a:lnTo>
                      <a:pt x="37072" y="78441"/>
                    </a:lnTo>
                    <a:cubicBezTo>
                      <a:pt x="44960" y="78160"/>
                      <a:pt x="51583" y="72405"/>
                      <a:pt x="52958" y="64635"/>
                    </a:cubicBezTo>
                  </a:path>
                </a:pathLst>
              </a:custGeom>
              <a:solidFill>
                <a:srgbClr val="00397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83" name="Freihandform 882">
                <a:extLst>
                  <a:ext uri="{FF2B5EF4-FFF2-40B4-BE49-F238E27FC236}">
                    <a16:creationId xmlns:a16="http://schemas.microsoft.com/office/drawing/2014/main" id="{1B4F7125-6B33-2742-80A0-5AD6899FAC39}"/>
                  </a:ext>
                </a:extLst>
              </p:cNvPr>
              <p:cNvSpPr/>
              <p:nvPr/>
            </p:nvSpPr>
            <p:spPr>
              <a:xfrm>
                <a:off x="-1473918" y="3597277"/>
                <a:ext cx="37515" cy="37507"/>
              </a:xfrm>
              <a:custGeom>
                <a:avLst/>
                <a:gdLst>
                  <a:gd name="connsiteX0" fmla="*/ 0 w 37515"/>
                  <a:gd name="connsiteY0" fmla="*/ 18754 h 37507"/>
                  <a:gd name="connsiteX1" fmla="*/ 18758 w 37515"/>
                  <a:gd name="connsiteY1" fmla="*/ 37507 h 37507"/>
                  <a:gd name="connsiteX2" fmla="*/ 37516 w 37515"/>
                  <a:gd name="connsiteY2" fmla="*/ 18754 h 37507"/>
                  <a:gd name="connsiteX3" fmla="*/ 18758 w 37515"/>
                  <a:gd name="connsiteY3" fmla="*/ 0 h 37507"/>
                  <a:gd name="connsiteX4" fmla="*/ 0 w 37515"/>
                  <a:gd name="connsiteY4" fmla="*/ 18754 h 37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7515" h="37507">
                    <a:moveTo>
                      <a:pt x="0" y="18754"/>
                    </a:moveTo>
                    <a:cubicBezTo>
                      <a:pt x="0" y="29108"/>
                      <a:pt x="8395" y="37507"/>
                      <a:pt x="18758" y="37507"/>
                    </a:cubicBezTo>
                    <a:cubicBezTo>
                      <a:pt x="29121" y="37507"/>
                      <a:pt x="37516" y="29108"/>
                      <a:pt x="37516" y="18754"/>
                    </a:cubicBezTo>
                    <a:cubicBezTo>
                      <a:pt x="37516" y="8399"/>
                      <a:pt x="29121" y="0"/>
                      <a:pt x="18758" y="0"/>
                    </a:cubicBezTo>
                    <a:cubicBezTo>
                      <a:pt x="8395" y="0"/>
                      <a:pt x="0" y="8399"/>
                      <a:pt x="0" y="18754"/>
                    </a:cubicBezTo>
                  </a:path>
                </a:pathLst>
              </a:custGeom>
              <a:solidFill>
                <a:srgbClr val="00397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84" name="Freihandform 883">
                <a:extLst>
                  <a:ext uri="{FF2B5EF4-FFF2-40B4-BE49-F238E27FC236}">
                    <a16:creationId xmlns:a16="http://schemas.microsoft.com/office/drawing/2014/main" id="{21149E00-C44D-A546-A19C-67A87807A24D}"/>
                  </a:ext>
                </a:extLst>
              </p:cNvPr>
              <p:cNvSpPr/>
              <p:nvPr/>
            </p:nvSpPr>
            <p:spPr>
              <a:xfrm>
                <a:off x="-1507450" y="3645324"/>
                <a:ext cx="76673" cy="39220"/>
              </a:xfrm>
              <a:custGeom>
                <a:avLst/>
                <a:gdLst>
                  <a:gd name="connsiteX0" fmla="*/ 61577 w 76673"/>
                  <a:gd name="connsiteY0" fmla="*/ 28 h 39220"/>
                  <a:gd name="connsiteX1" fmla="*/ 13796 w 76673"/>
                  <a:gd name="connsiteY1" fmla="*/ 21408 h 39220"/>
                  <a:gd name="connsiteX2" fmla="*/ 1576 w 76673"/>
                  <a:gd name="connsiteY2" fmla="*/ 31977 h 39220"/>
                  <a:gd name="connsiteX3" fmla="*/ 5853 w 76673"/>
                  <a:gd name="connsiteY3" fmla="*/ 35825 h 39220"/>
                  <a:gd name="connsiteX4" fmla="*/ 62799 w 76673"/>
                  <a:gd name="connsiteY4" fmla="*/ 24157 h 39220"/>
                  <a:gd name="connsiteX5" fmla="*/ 61393 w 76673"/>
                  <a:gd name="connsiteY5" fmla="*/ 28 h 39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6673" h="39220">
                    <a:moveTo>
                      <a:pt x="61577" y="28"/>
                    </a:moveTo>
                    <a:cubicBezTo>
                      <a:pt x="61577" y="1922"/>
                      <a:pt x="36525" y="24463"/>
                      <a:pt x="13796" y="21408"/>
                    </a:cubicBezTo>
                    <a:cubicBezTo>
                      <a:pt x="-3129" y="18965"/>
                      <a:pt x="-624" y="27517"/>
                      <a:pt x="1576" y="31977"/>
                    </a:cubicBezTo>
                    <a:cubicBezTo>
                      <a:pt x="2492" y="33730"/>
                      <a:pt x="4014" y="35098"/>
                      <a:pt x="5853" y="35825"/>
                    </a:cubicBezTo>
                    <a:cubicBezTo>
                      <a:pt x="13551" y="38940"/>
                      <a:pt x="36403" y="45355"/>
                      <a:pt x="62799" y="24157"/>
                    </a:cubicBezTo>
                    <a:cubicBezTo>
                      <a:pt x="94816" y="-1804"/>
                      <a:pt x="61393" y="28"/>
                      <a:pt x="61393" y="28"/>
                    </a:cubicBezTo>
                  </a:path>
                </a:pathLst>
              </a:custGeom>
              <a:solidFill>
                <a:srgbClr val="00397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85" name="Freihandform 884">
                <a:extLst>
                  <a:ext uri="{FF2B5EF4-FFF2-40B4-BE49-F238E27FC236}">
                    <a16:creationId xmlns:a16="http://schemas.microsoft.com/office/drawing/2014/main" id="{B477BDDE-81A2-6248-91B1-ECE79647B9FC}"/>
                  </a:ext>
                </a:extLst>
              </p:cNvPr>
              <p:cNvSpPr/>
              <p:nvPr/>
            </p:nvSpPr>
            <p:spPr>
              <a:xfrm>
                <a:off x="-1528105" y="3672872"/>
                <a:ext cx="37682" cy="32620"/>
              </a:xfrm>
              <a:custGeom>
                <a:avLst/>
                <a:gdLst>
                  <a:gd name="connsiteX0" fmla="*/ 15570 w 37682"/>
                  <a:gd name="connsiteY0" fmla="*/ 19945 h 32620"/>
                  <a:gd name="connsiteX1" fmla="*/ 37383 w 37682"/>
                  <a:gd name="connsiteY1" fmla="*/ 32162 h 32620"/>
                  <a:gd name="connsiteX2" fmla="*/ 22230 w 37682"/>
                  <a:gd name="connsiteY2" fmla="*/ 12675 h 32620"/>
                  <a:gd name="connsiteX3" fmla="*/ 417 w 37682"/>
                  <a:gd name="connsiteY3" fmla="*/ 458 h 32620"/>
                  <a:gd name="connsiteX4" fmla="*/ 9827 w 37682"/>
                  <a:gd name="connsiteY4" fmla="*/ 14630 h 32620"/>
                  <a:gd name="connsiteX5" fmla="*/ 15570 w 37682"/>
                  <a:gd name="connsiteY5" fmla="*/ 19884 h 32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682" h="32620">
                    <a:moveTo>
                      <a:pt x="15570" y="19945"/>
                    </a:moveTo>
                    <a:cubicBezTo>
                      <a:pt x="25835" y="28741"/>
                      <a:pt x="35550" y="34300"/>
                      <a:pt x="37383" y="32162"/>
                    </a:cubicBezTo>
                    <a:cubicBezTo>
                      <a:pt x="39216" y="30024"/>
                      <a:pt x="32434" y="21472"/>
                      <a:pt x="22230" y="12675"/>
                    </a:cubicBezTo>
                    <a:cubicBezTo>
                      <a:pt x="12027" y="3879"/>
                      <a:pt x="2250" y="-1680"/>
                      <a:pt x="417" y="458"/>
                    </a:cubicBezTo>
                    <a:cubicBezTo>
                      <a:pt x="-1416" y="2596"/>
                      <a:pt x="2984" y="7850"/>
                      <a:pt x="9827" y="14630"/>
                    </a:cubicBezTo>
                    <a:cubicBezTo>
                      <a:pt x="11599" y="16341"/>
                      <a:pt x="13554" y="18112"/>
                      <a:pt x="15570" y="19884"/>
                    </a:cubicBezTo>
                  </a:path>
                </a:pathLst>
              </a:custGeom>
              <a:solidFill>
                <a:srgbClr val="00397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876" name="Freihandform 875">
              <a:extLst>
                <a:ext uri="{FF2B5EF4-FFF2-40B4-BE49-F238E27FC236}">
                  <a16:creationId xmlns:a16="http://schemas.microsoft.com/office/drawing/2014/main" id="{6071FDBE-3E89-6740-B073-1BEB28A093AB}"/>
                </a:ext>
              </a:extLst>
            </p:cNvPr>
            <p:cNvSpPr/>
            <p:nvPr/>
          </p:nvSpPr>
          <p:spPr>
            <a:xfrm>
              <a:off x="12760350" y="4197746"/>
              <a:ext cx="77645" cy="73153"/>
            </a:xfrm>
            <a:custGeom>
              <a:avLst/>
              <a:gdLst>
                <a:gd name="connsiteX0" fmla="*/ 29695 w 29695"/>
                <a:gd name="connsiteY0" fmla="*/ 7086 h 27977"/>
                <a:gd name="connsiteX1" fmla="*/ 8310 w 29695"/>
                <a:gd name="connsiteY1" fmla="*/ 27978 h 27977"/>
                <a:gd name="connsiteX2" fmla="*/ 0 w 29695"/>
                <a:gd name="connsiteY2" fmla="*/ 15882 h 27977"/>
                <a:gd name="connsiteX3" fmla="*/ 19125 w 29695"/>
                <a:gd name="connsiteY3" fmla="*/ 0 h 27977"/>
                <a:gd name="connsiteX4" fmla="*/ 29695 w 29695"/>
                <a:gd name="connsiteY4" fmla="*/ 7086 h 27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695" h="27977">
                  <a:moveTo>
                    <a:pt x="29695" y="7086"/>
                  </a:moveTo>
                  <a:lnTo>
                    <a:pt x="8310" y="27978"/>
                  </a:lnTo>
                  <a:lnTo>
                    <a:pt x="0" y="15882"/>
                  </a:lnTo>
                  <a:lnTo>
                    <a:pt x="19125" y="0"/>
                  </a:lnTo>
                  <a:lnTo>
                    <a:pt x="29695" y="7086"/>
                  </a:lnTo>
                  <a:close/>
                </a:path>
              </a:pathLst>
            </a:custGeom>
            <a:solidFill>
              <a:srgbClr val="003971"/>
            </a:solidFill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877" name="Grafik 5">
              <a:extLst>
                <a:ext uri="{FF2B5EF4-FFF2-40B4-BE49-F238E27FC236}">
                  <a16:creationId xmlns:a16="http://schemas.microsoft.com/office/drawing/2014/main" id="{CBA6BDC8-7310-D547-BCB1-2F7A8A0BE408}"/>
                </a:ext>
              </a:extLst>
            </p:cNvPr>
            <p:cNvGrpSpPr/>
            <p:nvPr/>
          </p:nvGrpSpPr>
          <p:grpSpPr>
            <a:xfrm>
              <a:off x="12563203" y="3853215"/>
              <a:ext cx="736030" cy="860767"/>
              <a:chOff x="-1607790" y="3557998"/>
              <a:chExt cx="281491" cy="329196"/>
            </a:xfrm>
            <a:solidFill>
              <a:srgbClr val="003971"/>
            </a:solidFill>
          </p:grpSpPr>
          <p:sp>
            <p:nvSpPr>
              <p:cNvPr id="879" name="Freihandform 878">
                <a:extLst>
                  <a:ext uri="{FF2B5EF4-FFF2-40B4-BE49-F238E27FC236}">
                    <a16:creationId xmlns:a16="http://schemas.microsoft.com/office/drawing/2014/main" id="{B17D64F2-D500-2943-8B05-D1CF8F8DB3DB}"/>
                  </a:ext>
                </a:extLst>
              </p:cNvPr>
              <p:cNvSpPr/>
              <p:nvPr/>
            </p:nvSpPr>
            <p:spPr>
              <a:xfrm>
                <a:off x="-1607790" y="3557998"/>
                <a:ext cx="281491" cy="273057"/>
              </a:xfrm>
              <a:custGeom>
                <a:avLst/>
                <a:gdLst>
                  <a:gd name="connsiteX0" fmla="*/ 85358 w 281491"/>
                  <a:gd name="connsiteY0" fmla="*/ 150518 h 273057"/>
                  <a:gd name="connsiteX1" fmla="*/ 85358 w 281491"/>
                  <a:gd name="connsiteY1" fmla="*/ 169577 h 273057"/>
                  <a:gd name="connsiteX2" fmla="*/ 89122 w 281491"/>
                  <a:gd name="connsiteY2" fmla="*/ 173144 h 273057"/>
                  <a:gd name="connsiteX3" fmla="*/ 92018 w 281491"/>
                  <a:gd name="connsiteY3" fmla="*/ 171593 h 273057"/>
                  <a:gd name="connsiteX4" fmla="*/ 141937 w 281491"/>
                  <a:gd name="connsiteY4" fmla="*/ 145203 h 273057"/>
                  <a:gd name="connsiteX5" fmla="*/ 212692 w 281491"/>
                  <a:gd name="connsiteY5" fmla="*/ 145203 h 273057"/>
                  <a:gd name="connsiteX6" fmla="*/ 211531 w 281491"/>
                  <a:gd name="connsiteY6" fmla="*/ 35675 h 273057"/>
                  <a:gd name="connsiteX7" fmla="*/ 191857 w 281491"/>
                  <a:gd name="connsiteY7" fmla="*/ 16249 h 273057"/>
                  <a:gd name="connsiteX8" fmla="*/ 137660 w 281491"/>
                  <a:gd name="connsiteY8" fmla="*/ 16249 h 273057"/>
                  <a:gd name="connsiteX9" fmla="*/ 104177 w 281491"/>
                  <a:gd name="connsiteY9" fmla="*/ 39340 h 273057"/>
                  <a:gd name="connsiteX10" fmla="*/ 67516 w 281491"/>
                  <a:gd name="connsiteY10" fmla="*/ 135918 h 273057"/>
                  <a:gd name="connsiteX11" fmla="*/ 70999 w 281491"/>
                  <a:gd name="connsiteY11" fmla="*/ 135918 h 273057"/>
                  <a:gd name="connsiteX12" fmla="*/ 85602 w 281491"/>
                  <a:gd name="connsiteY12" fmla="*/ 150518 h 273057"/>
                  <a:gd name="connsiteX13" fmla="*/ 87557 w 281491"/>
                  <a:gd name="connsiteY13" fmla="*/ 35003 h 273057"/>
                  <a:gd name="connsiteX14" fmla="*/ 138455 w 281491"/>
                  <a:gd name="connsiteY14" fmla="*/ 0 h 273057"/>
                  <a:gd name="connsiteX15" fmla="*/ 186846 w 281491"/>
                  <a:gd name="connsiteY15" fmla="*/ 0 h 273057"/>
                  <a:gd name="connsiteX16" fmla="*/ 225340 w 281491"/>
                  <a:gd name="connsiteY16" fmla="*/ 38423 h 273057"/>
                  <a:gd name="connsiteX17" fmla="*/ 225340 w 281491"/>
                  <a:gd name="connsiteY17" fmla="*/ 164568 h 273057"/>
                  <a:gd name="connsiteX18" fmla="*/ 228945 w 281491"/>
                  <a:gd name="connsiteY18" fmla="*/ 168172 h 273057"/>
                  <a:gd name="connsiteX19" fmla="*/ 233650 w 281491"/>
                  <a:gd name="connsiteY19" fmla="*/ 168172 h 273057"/>
                  <a:gd name="connsiteX20" fmla="*/ 266033 w 281491"/>
                  <a:gd name="connsiteY20" fmla="*/ 197676 h 273057"/>
                  <a:gd name="connsiteX21" fmla="*/ 268783 w 281491"/>
                  <a:gd name="connsiteY21" fmla="*/ 200853 h 273057"/>
                  <a:gd name="connsiteX22" fmla="*/ 281492 w 281491"/>
                  <a:gd name="connsiteY22" fmla="*/ 215941 h 273057"/>
                  <a:gd name="connsiteX23" fmla="*/ 281492 w 281491"/>
                  <a:gd name="connsiteY23" fmla="*/ 269392 h 273057"/>
                  <a:gd name="connsiteX24" fmla="*/ 277826 w 281491"/>
                  <a:gd name="connsiteY24" fmla="*/ 273058 h 273057"/>
                  <a:gd name="connsiteX25" fmla="*/ 265117 w 281491"/>
                  <a:gd name="connsiteY25" fmla="*/ 273058 h 273057"/>
                  <a:gd name="connsiteX26" fmla="*/ 262184 w 281491"/>
                  <a:gd name="connsiteY26" fmla="*/ 271469 h 273057"/>
                  <a:gd name="connsiteX27" fmla="*/ 205030 w 281491"/>
                  <a:gd name="connsiteY27" fmla="*/ 261720 h 273057"/>
                  <a:gd name="connsiteX28" fmla="*/ 195278 w 281491"/>
                  <a:gd name="connsiteY28" fmla="*/ 271469 h 273057"/>
                  <a:gd name="connsiteX29" fmla="*/ 192346 w 281491"/>
                  <a:gd name="connsiteY29" fmla="*/ 273058 h 273057"/>
                  <a:gd name="connsiteX30" fmla="*/ 104605 w 281491"/>
                  <a:gd name="connsiteY30" fmla="*/ 273058 h 273057"/>
                  <a:gd name="connsiteX31" fmla="*/ 101672 w 281491"/>
                  <a:gd name="connsiteY31" fmla="*/ 271469 h 273057"/>
                  <a:gd name="connsiteX32" fmla="*/ 44518 w 281491"/>
                  <a:gd name="connsiteY32" fmla="*/ 261720 h 273057"/>
                  <a:gd name="connsiteX33" fmla="*/ 34766 w 281491"/>
                  <a:gd name="connsiteY33" fmla="*/ 271469 h 273057"/>
                  <a:gd name="connsiteX34" fmla="*/ 31833 w 281491"/>
                  <a:gd name="connsiteY34" fmla="*/ 273058 h 273057"/>
                  <a:gd name="connsiteX35" fmla="*/ 12587 w 281491"/>
                  <a:gd name="connsiteY35" fmla="*/ 273058 h 273057"/>
                  <a:gd name="connsiteX36" fmla="*/ 10082 w 281491"/>
                  <a:gd name="connsiteY36" fmla="*/ 272019 h 273057"/>
                  <a:gd name="connsiteX37" fmla="*/ 1100 w 281491"/>
                  <a:gd name="connsiteY37" fmla="*/ 263406 h 273057"/>
                  <a:gd name="connsiteX38" fmla="*/ 0 w 281491"/>
                  <a:gd name="connsiteY38" fmla="*/ 260779 h 273057"/>
                  <a:gd name="connsiteX39" fmla="*/ 0 w 281491"/>
                  <a:gd name="connsiteY39" fmla="*/ 193584 h 273057"/>
                  <a:gd name="connsiteX40" fmla="*/ 3788 w 281491"/>
                  <a:gd name="connsiteY40" fmla="*/ 189919 h 273057"/>
                  <a:gd name="connsiteX41" fmla="*/ 3849 w 281491"/>
                  <a:gd name="connsiteY41" fmla="*/ 189919 h 273057"/>
                  <a:gd name="connsiteX42" fmla="*/ 23463 w 281491"/>
                  <a:gd name="connsiteY42" fmla="*/ 190957 h 273057"/>
                  <a:gd name="connsiteX43" fmla="*/ 87313 w 281491"/>
                  <a:gd name="connsiteY43" fmla="*/ 35003 h 273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281491" h="273057">
                    <a:moveTo>
                      <a:pt x="85358" y="150518"/>
                    </a:moveTo>
                    <a:lnTo>
                      <a:pt x="85358" y="169577"/>
                    </a:lnTo>
                    <a:cubicBezTo>
                      <a:pt x="85413" y="171599"/>
                      <a:pt x="87093" y="173199"/>
                      <a:pt x="89122" y="173144"/>
                    </a:cubicBezTo>
                    <a:cubicBezTo>
                      <a:pt x="90276" y="173114"/>
                      <a:pt x="91352" y="172539"/>
                      <a:pt x="92018" y="171593"/>
                    </a:cubicBezTo>
                    <a:cubicBezTo>
                      <a:pt x="103273" y="155087"/>
                      <a:pt x="121957" y="145209"/>
                      <a:pt x="141937" y="145203"/>
                    </a:cubicBezTo>
                    <a:lnTo>
                      <a:pt x="212692" y="145203"/>
                    </a:lnTo>
                    <a:lnTo>
                      <a:pt x="211531" y="35675"/>
                    </a:lnTo>
                    <a:cubicBezTo>
                      <a:pt x="211397" y="24905"/>
                      <a:pt x="202629" y="16249"/>
                      <a:pt x="191857" y="16249"/>
                    </a:cubicBezTo>
                    <a:lnTo>
                      <a:pt x="137660" y="16249"/>
                    </a:lnTo>
                    <a:cubicBezTo>
                      <a:pt x="122782" y="16243"/>
                      <a:pt x="109456" y="25437"/>
                      <a:pt x="104177" y="39340"/>
                    </a:cubicBezTo>
                    <a:lnTo>
                      <a:pt x="67516" y="135918"/>
                    </a:lnTo>
                    <a:lnTo>
                      <a:pt x="70999" y="135918"/>
                    </a:lnTo>
                    <a:cubicBezTo>
                      <a:pt x="79065" y="135918"/>
                      <a:pt x="85602" y="142454"/>
                      <a:pt x="85602" y="150518"/>
                    </a:cubicBezTo>
                    <a:moveTo>
                      <a:pt x="87557" y="35003"/>
                    </a:moveTo>
                    <a:cubicBezTo>
                      <a:pt x="95635" y="13922"/>
                      <a:pt x="115872" y="0"/>
                      <a:pt x="138455" y="0"/>
                    </a:cubicBezTo>
                    <a:lnTo>
                      <a:pt x="186846" y="0"/>
                    </a:lnTo>
                    <a:cubicBezTo>
                      <a:pt x="208079" y="0"/>
                      <a:pt x="225303" y="17196"/>
                      <a:pt x="225340" y="38423"/>
                    </a:cubicBezTo>
                    <a:lnTo>
                      <a:pt x="225340" y="164568"/>
                    </a:lnTo>
                    <a:cubicBezTo>
                      <a:pt x="225340" y="166559"/>
                      <a:pt x="226953" y="168172"/>
                      <a:pt x="228945" y="168172"/>
                    </a:cubicBezTo>
                    <a:lnTo>
                      <a:pt x="233650" y="168172"/>
                    </a:lnTo>
                    <a:cubicBezTo>
                      <a:pt x="250446" y="168166"/>
                      <a:pt x="264487" y="180951"/>
                      <a:pt x="266033" y="197676"/>
                    </a:cubicBezTo>
                    <a:cubicBezTo>
                      <a:pt x="266094" y="199247"/>
                      <a:pt x="267237" y="200566"/>
                      <a:pt x="268783" y="200853"/>
                    </a:cubicBezTo>
                    <a:cubicBezTo>
                      <a:pt x="276121" y="202130"/>
                      <a:pt x="281486" y="208495"/>
                      <a:pt x="281492" y="215941"/>
                    </a:cubicBezTo>
                    <a:lnTo>
                      <a:pt x="281492" y="269392"/>
                    </a:lnTo>
                    <a:cubicBezTo>
                      <a:pt x="281492" y="271415"/>
                      <a:pt x="279848" y="273058"/>
                      <a:pt x="277826" y="273058"/>
                    </a:cubicBezTo>
                    <a:lnTo>
                      <a:pt x="265117" y="273058"/>
                    </a:lnTo>
                    <a:cubicBezTo>
                      <a:pt x="263937" y="273039"/>
                      <a:pt x="262844" y="272447"/>
                      <a:pt x="262184" y="271469"/>
                    </a:cubicBezTo>
                    <a:cubicBezTo>
                      <a:pt x="249096" y="252997"/>
                      <a:pt x="223507" y="248635"/>
                      <a:pt x="205030" y="261720"/>
                    </a:cubicBezTo>
                    <a:cubicBezTo>
                      <a:pt x="201254" y="264395"/>
                      <a:pt x="197955" y="267694"/>
                      <a:pt x="195278" y="271469"/>
                    </a:cubicBezTo>
                    <a:cubicBezTo>
                      <a:pt x="194612" y="272441"/>
                      <a:pt x="193519" y="273027"/>
                      <a:pt x="192346" y="273058"/>
                    </a:cubicBezTo>
                    <a:lnTo>
                      <a:pt x="104605" y="273058"/>
                    </a:lnTo>
                    <a:cubicBezTo>
                      <a:pt x="103425" y="273039"/>
                      <a:pt x="102332" y="272447"/>
                      <a:pt x="101672" y="271469"/>
                    </a:cubicBezTo>
                    <a:cubicBezTo>
                      <a:pt x="88584" y="252997"/>
                      <a:pt x="62995" y="248635"/>
                      <a:pt x="44518" y="261720"/>
                    </a:cubicBezTo>
                    <a:cubicBezTo>
                      <a:pt x="40742" y="264395"/>
                      <a:pt x="37443" y="267694"/>
                      <a:pt x="34766" y="271469"/>
                    </a:cubicBezTo>
                    <a:cubicBezTo>
                      <a:pt x="34100" y="272441"/>
                      <a:pt x="33007" y="273027"/>
                      <a:pt x="31833" y="273058"/>
                    </a:cubicBezTo>
                    <a:lnTo>
                      <a:pt x="12587" y="273058"/>
                    </a:lnTo>
                    <a:cubicBezTo>
                      <a:pt x="11646" y="273058"/>
                      <a:pt x="10748" y="272685"/>
                      <a:pt x="10082" y="272019"/>
                    </a:cubicBezTo>
                    <a:lnTo>
                      <a:pt x="1100" y="263406"/>
                    </a:lnTo>
                    <a:cubicBezTo>
                      <a:pt x="391" y="262716"/>
                      <a:pt x="0" y="261769"/>
                      <a:pt x="0" y="260779"/>
                    </a:cubicBezTo>
                    <a:lnTo>
                      <a:pt x="0" y="193584"/>
                    </a:lnTo>
                    <a:cubicBezTo>
                      <a:pt x="31" y="191525"/>
                      <a:pt x="1729" y="189882"/>
                      <a:pt x="3788" y="189919"/>
                    </a:cubicBezTo>
                    <a:cubicBezTo>
                      <a:pt x="3806" y="189919"/>
                      <a:pt x="3831" y="189919"/>
                      <a:pt x="3849" y="189919"/>
                    </a:cubicBezTo>
                    <a:lnTo>
                      <a:pt x="23463" y="190957"/>
                    </a:lnTo>
                    <a:cubicBezTo>
                      <a:pt x="25418" y="190957"/>
                      <a:pt x="87313" y="35003"/>
                      <a:pt x="87313" y="35003"/>
                    </a:cubicBezTo>
                  </a:path>
                </a:pathLst>
              </a:custGeom>
              <a:solidFill>
                <a:srgbClr val="00397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80" name="Freihandform 879">
                <a:extLst>
                  <a:ext uri="{FF2B5EF4-FFF2-40B4-BE49-F238E27FC236}">
                    <a16:creationId xmlns:a16="http://schemas.microsoft.com/office/drawing/2014/main" id="{A4738609-1897-9140-86F2-C93CF2E89526}"/>
                  </a:ext>
                </a:extLst>
              </p:cNvPr>
              <p:cNvSpPr/>
              <p:nvPr/>
            </p:nvSpPr>
            <p:spPr>
              <a:xfrm>
                <a:off x="-1573696" y="3818899"/>
                <a:ext cx="68310" cy="68294"/>
              </a:xfrm>
              <a:custGeom>
                <a:avLst/>
                <a:gdLst>
                  <a:gd name="connsiteX0" fmla="*/ 34094 w 68310"/>
                  <a:gd name="connsiteY0" fmla="*/ 0 h 68294"/>
                  <a:gd name="connsiteX1" fmla="*/ 68311 w 68310"/>
                  <a:gd name="connsiteY1" fmla="*/ 34086 h 68294"/>
                  <a:gd name="connsiteX2" fmla="*/ 34217 w 68310"/>
                  <a:gd name="connsiteY2" fmla="*/ 68295 h 68294"/>
                  <a:gd name="connsiteX3" fmla="*/ 0 w 68310"/>
                  <a:gd name="connsiteY3" fmla="*/ 34208 h 68294"/>
                  <a:gd name="connsiteX4" fmla="*/ 0 w 68310"/>
                  <a:gd name="connsiteY4" fmla="*/ 34147 h 68294"/>
                  <a:gd name="connsiteX5" fmla="*/ 34094 w 68310"/>
                  <a:gd name="connsiteY5" fmla="*/ 0 h 68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8310" h="68294">
                    <a:moveTo>
                      <a:pt x="34094" y="0"/>
                    </a:moveTo>
                    <a:cubicBezTo>
                      <a:pt x="52956" y="-31"/>
                      <a:pt x="68274" y="15229"/>
                      <a:pt x="68311" y="34086"/>
                    </a:cubicBezTo>
                    <a:cubicBezTo>
                      <a:pt x="68347" y="52944"/>
                      <a:pt x="53078" y="68264"/>
                      <a:pt x="34217" y="68295"/>
                    </a:cubicBezTo>
                    <a:cubicBezTo>
                      <a:pt x="15355" y="68331"/>
                      <a:pt x="37" y="53066"/>
                      <a:pt x="0" y="34208"/>
                    </a:cubicBezTo>
                    <a:cubicBezTo>
                      <a:pt x="0" y="34190"/>
                      <a:pt x="0" y="34166"/>
                      <a:pt x="0" y="34147"/>
                    </a:cubicBezTo>
                    <a:cubicBezTo>
                      <a:pt x="37" y="15327"/>
                      <a:pt x="15269" y="67"/>
                      <a:pt x="34094" y="0"/>
                    </a:cubicBezTo>
                  </a:path>
                </a:pathLst>
              </a:custGeom>
              <a:solidFill>
                <a:srgbClr val="00397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81" name="Freihandform 880">
                <a:extLst>
                  <a:ext uri="{FF2B5EF4-FFF2-40B4-BE49-F238E27FC236}">
                    <a16:creationId xmlns:a16="http://schemas.microsoft.com/office/drawing/2014/main" id="{C20D4364-3C31-994F-BB01-219C037D84E3}"/>
                  </a:ext>
                </a:extLst>
              </p:cNvPr>
              <p:cNvSpPr/>
              <p:nvPr/>
            </p:nvSpPr>
            <p:spPr>
              <a:xfrm>
                <a:off x="-1413429" y="3818899"/>
                <a:ext cx="68310" cy="68294"/>
              </a:xfrm>
              <a:custGeom>
                <a:avLst/>
                <a:gdLst>
                  <a:gd name="connsiteX0" fmla="*/ 34094 w 68310"/>
                  <a:gd name="connsiteY0" fmla="*/ 0 h 68294"/>
                  <a:gd name="connsiteX1" fmla="*/ 68311 w 68310"/>
                  <a:gd name="connsiteY1" fmla="*/ 34086 h 68294"/>
                  <a:gd name="connsiteX2" fmla="*/ 34217 w 68310"/>
                  <a:gd name="connsiteY2" fmla="*/ 68295 h 68294"/>
                  <a:gd name="connsiteX3" fmla="*/ 0 w 68310"/>
                  <a:gd name="connsiteY3" fmla="*/ 34208 h 68294"/>
                  <a:gd name="connsiteX4" fmla="*/ 0 w 68310"/>
                  <a:gd name="connsiteY4" fmla="*/ 34147 h 68294"/>
                  <a:gd name="connsiteX5" fmla="*/ 34094 w 68310"/>
                  <a:gd name="connsiteY5" fmla="*/ 0 h 68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8310" h="68294">
                    <a:moveTo>
                      <a:pt x="34094" y="0"/>
                    </a:moveTo>
                    <a:cubicBezTo>
                      <a:pt x="52956" y="-31"/>
                      <a:pt x="68274" y="15229"/>
                      <a:pt x="68311" y="34086"/>
                    </a:cubicBezTo>
                    <a:cubicBezTo>
                      <a:pt x="68347" y="52944"/>
                      <a:pt x="53078" y="68264"/>
                      <a:pt x="34217" y="68295"/>
                    </a:cubicBezTo>
                    <a:cubicBezTo>
                      <a:pt x="15355" y="68331"/>
                      <a:pt x="37" y="53066"/>
                      <a:pt x="0" y="34208"/>
                    </a:cubicBezTo>
                    <a:cubicBezTo>
                      <a:pt x="0" y="34190"/>
                      <a:pt x="0" y="34166"/>
                      <a:pt x="0" y="34147"/>
                    </a:cubicBezTo>
                    <a:cubicBezTo>
                      <a:pt x="0" y="15314"/>
                      <a:pt x="15257" y="37"/>
                      <a:pt x="34094" y="0"/>
                    </a:cubicBezTo>
                  </a:path>
                </a:pathLst>
              </a:custGeom>
              <a:solidFill>
                <a:srgbClr val="00397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878" name="Freihandform 877">
              <a:extLst>
                <a:ext uri="{FF2B5EF4-FFF2-40B4-BE49-F238E27FC236}">
                  <a16:creationId xmlns:a16="http://schemas.microsoft.com/office/drawing/2014/main" id="{576D50B0-4BC2-0C48-B81B-EC7CF8DA5EBF}"/>
                </a:ext>
              </a:extLst>
            </p:cNvPr>
            <p:cNvSpPr/>
            <p:nvPr/>
          </p:nvSpPr>
          <p:spPr>
            <a:xfrm>
              <a:off x="11379833" y="3864065"/>
              <a:ext cx="1126652" cy="630561"/>
            </a:xfrm>
            <a:custGeom>
              <a:avLst/>
              <a:gdLst>
                <a:gd name="connsiteX0" fmla="*/ 0 w 430883"/>
                <a:gd name="connsiteY0" fmla="*/ 0 h 165911"/>
                <a:gd name="connsiteX1" fmla="*/ 430883 w 430883"/>
                <a:gd name="connsiteY1" fmla="*/ 0 h 165911"/>
                <a:gd name="connsiteX2" fmla="*/ 430883 w 430883"/>
                <a:gd name="connsiteY2" fmla="*/ 165911 h 165911"/>
                <a:gd name="connsiteX3" fmla="*/ 0 w 430883"/>
                <a:gd name="connsiteY3" fmla="*/ 165911 h 16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0883" h="165911">
                  <a:moveTo>
                    <a:pt x="0" y="0"/>
                  </a:moveTo>
                  <a:lnTo>
                    <a:pt x="430883" y="0"/>
                  </a:lnTo>
                  <a:lnTo>
                    <a:pt x="430883" y="165911"/>
                  </a:lnTo>
                  <a:lnTo>
                    <a:pt x="0" y="165911"/>
                  </a:lnTo>
                  <a:close/>
                </a:path>
              </a:pathLst>
            </a:custGeom>
            <a:solidFill>
              <a:srgbClr val="F1D100"/>
            </a:solidFill>
            <a:ln w="6099" cap="flat">
              <a:noFill/>
              <a:prstDash val="solid"/>
              <a:miter/>
            </a:ln>
          </p:spPr>
          <p:txBody>
            <a:bodyPr wrap="none" lIns="72000" rIns="72000" rtlCol="0" anchor="ctr">
              <a:noAutofit/>
            </a:bodyPr>
            <a:lstStyle/>
            <a:p>
              <a:pPr algn="ctr"/>
              <a:r>
                <a:rPr lang="cs-CZ" sz="700" dirty="0">
                  <a:solidFill>
                    <a:srgbClr val="003871"/>
                  </a:solidFill>
                </a:rPr>
                <a:t>Přeprava</a:t>
              </a:r>
              <a:r>
                <a:rPr lang="de-DE" sz="700" dirty="0">
                  <a:solidFill>
                    <a:srgbClr val="003871"/>
                  </a:solidFill>
                </a:rPr>
                <a:t> </a:t>
              </a:r>
              <a:r>
                <a:rPr lang="cs-CZ" sz="700" dirty="0">
                  <a:solidFill>
                    <a:srgbClr val="003871"/>
                  </a:solidFill>
                </a:rPr>
                <a:t>na</a:t>
              </a:r>
              <a:r>
                <a:rPr lang="de-DE" sz="700" dirty="0">
                  <a:solidFill>
                    <a:srgbClr val="003871"/>
                  </a:solidFill>
                </a:rPr>
                <a:t> </a:t>
              </a:r>
              <a:br>
                <a:rPr lang="de-DE" sz="700" dirty="0">
                  <a:solidFill>
                    <a:srgbClr val="003871"/>
                  </a:solidFill>
                </a:rPr>
              </a:br>
              <a:r>
                <a:rPr lang="cs-CZ" sz="700" dirty="0">
                  <a:solidFill>
                    <a:srgbClr val="003871"/>
                  </a:solidFill>
                </a:rPr>
                <a:t>kratší vzdálenosti</a:t>
              </a:r>
              <a:r>
                <a:rPr lang="de-DE" sz="700" dirty="0"/>
                <a:t> </a:t>
              </a:r>
            </a:p>
          </p:txBody>
        </p:sp>
      </p:grpSp>
      <p:grpSp>
        <p:nvGrpSpPr>
          <p:cNvPr id="979" name="Gruppieren 978">
            <a:extLst>
              <a:ext uri="{FF2B5EF4-FFF2-40B4-BE49-F238E27FC236}">
                <a16:creationId xmlns:a16="http://schemas.microsoft.com/office/drawing/2014/main" id="{207D46DE-D5E7-064E-AD03-B0CA3703AB25}"/>
              </a:ext>
            </a:extLst>
          </p:cNvPr>
          <p:cNvGrpSpPr/>
          <p:nvPr/>
        </p:nvGrpSpPr>
        <p:grpSpPr>
          <a:xfrm>
            <a:off x="7164288" y="3013224"/>
            <a:ext cx="1631304" cy="967251"/>
            <a:chOff x="6383406" y="2225916"/>
            <a:chExt cx="1631304" cy="967251"/>
          </a:xfrm>
        </p:grpSpPr>
        <p:sp>
          <p:nvSpPr>
            <p:cNvPr id="886" name="Rechteck 885">
              <a:extLst>
                <a:ext uri="{FF2B5EF4-FFF2-40B4-BE49-F238E27FC236}">
                  <a16:creationId xmlns:a16="http://schemas.microsoft.com/office/drawing/2014/main" id="{D07BA6AD-779C-DD49-8332-DFA8EEFE3451}"/>
                </a:ext>
              </a:extLst>
            </p:cNvPr>
            <p:cNvSpPr/>
            <p:nvPr/>
          </p:nvSpPr>
          <p:spPr>
            <a:xfrm>
              <a:off x="6595878" y="2416724"/>
              <a:ext cx="1188439" cy="776443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599" dirty="0" err="1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887" name="Textfeld 886">
              <a:extLst>
                <a:ext uri="{FF2B5EF4-FFF2-40B4-BE49-F238E27FC236}">
                  <a16:creationId xmlns:a16="http://schemas.microsoft.com/office/drawing/2014/main" id="{BDFFD0B0-7C43-2B4E-8071-4B7A9B1136C4}"/>
                </a:ext>
              </a:extLst>
            </p:cNvPr>
            <p:cNvSpPr txBox="1"/>
            <p:nvPr/>
          </p:nvSpPr>
          <p:spPr>
            <a:xfrm>
              <a:off x="6555773" y="2225916"/>
              <a:ext cx="1277853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700" dirty="0"/>
                <a:t> </a:t>
              </a:r>
              <a:r>
                <a:rPr lang="cs-CZ" sz="700" dirty="0"/>
                <a:t>Konstrukce kola</a:t>
              </a:r>
              <a:endParaRPr lang="de-DE" sz="700" dirty="0"/>
            </a:p>
            <a:p>
              <a:pPr algn="ctr"/>
              <a:endParaRPr lang="de-DE" sz="700" dirty="0"/>
            </a:p>
            <a:p>
              <a:pPr algn="ctr"/>
              <a:r>
                <a:rPr lang="cs-CZ" sz="700" dirty="0"/>
                <a:t>Plnopryžová kola</a:t>
              </a:r>
              <a:endParaRPr lang="de-DE" sz="700" dirty="0"/>
            </a:p>
          </p:txBody>
        </p:sp>
        <p:grpSp>
          <p:nvGrpSpPr>
            <p:cNvPr id="888" name="Gruppieren 887">
              <a:extLst>
                <a:ext uri="{FF2B5EF4-FFF2-40B4-BE49-F238E27FC236}">
                  <a16:creationId xmlns:a16="http://schemas.microsoft.com/office/drawing/2014/main" id="{21DF3F4E-B6F4-694C-8BA5-6AA98646042D}"/>
                </a:ext>
              </a:extLst>
            </p:cNvPr>
            <p:cNvGrpSpPr/>
            <p:nvPr/>
          </p:nvGrpSpPr>
          <p:grpSpPr>
            <a:xfrm>
              <a:off x="7553924" y="2827116"/>
              <a:ext cx="460786" cy="255136"/>
              <a:chOff x="4382790" y="1999795"/>
              <a:chExt cx="663496" cy="367376"/>
            </a:xfrm>
          </p:grpSpPr>
          <p:grpSp>
            <p:nvGrpSpPr>
              <p:cNvPr id="889" name="Grafik 5">
                <a:extLst>
                  <a:ext uri="{FF2B5EF4-FFF2-40B4-BE49-F238E27FC236}">
                    <a16:creationId xmlns:a16="http://schemas.microsoft.com/office/drawing/2014/main" id="{CF487A38-C23B-C748-BD70-8178624BAD38}"/>
                  </a:ext>
                </a:extLst>
              </p:cNvPr>
              <p:cNvGrpSpPr/>
              <p:nvPr/>
            </p:nvGrpSpPr>
            <p:grpSpPr>
              <a:xfrm>
                <a:off x="4382790" y="1999795"/>
                <a:ext cx="663496" cy="367376"/>
                <a:chOff x="-2628480" y="3803382"/>
                <a:chExt cx="253751" cy="140501"/>
              </a:xfrm>
            </p:grpSpPr>
            <p:sp>
              <p:nvSpPr>
                <p:cNvPr id="891" name="Freihandform 890">
                  <a:extLst>
                    <a:ext uri="{FF2B5EF4-FFF2-40B4-BE49-F238E27FC236}">
                      <a16:creationId xmlns:a16="http://schemas.microsoft.com/office/drawing/2014/main" id="{B53E4855-7901-774C-9CCA-9447167D8A18}"/>
                    </a:ext>
                  </a:extLst>
                </p:cNvPr>
                <p:cNvSpPr/>
                <p:nvPr/>
              </p:nvSpPr>
              <p:spPr>
                <a:xfrm>
                  <a:off x="-2600924" y="3859094"/>
                  <a:ext cx="198394" cy="84789"/>
                </a:xfrm>
                <a:custGeom>
                  <a:avLst/>
                  <a:gdLst>
                    <a:gd name="connsiteX0" fmla="*/ 0 w 198394"/>
                    <a:gd name="connsiteY0" fmla="*/ 0 h 84789"/>
                    <a:gd name="connsiteX1" fmla="*/ 198394 w 198394"/>
                    <a:gd name="connsiteY1" fmla="*/ 0 h 84789"/>
                    <a:gd name="connsiteX2" fmla="*/ 198394 w 198394"/>
                    <a:gd name="connsiteY2" fmla="*/ 51008 h 84789"/>
                    <a:gd name="connsiteX3" fmla="*/ 164178 w 198394"/>
                    <a:gd name="connsiteY3" fmla="*/ 84788 h 84789"/>
                    <a:gd name="connsiteX4" fmla="*/ 34217 w 198394"/>
                    <a:gd name="connsiteY4" fmla="*/ 84788 h 84789"/>
                    <a:gd name="connsiteX5" fmla="*/ 0 w 198394"/>
                    <a:gd name="connsiteY5" fmla="*/ 51069 h 84789"/>
                    <a:gd name="connsiteX6" fmla="*/ 0 w 198394"/>
                    <a:gd name="connsiteY6" fmla="*/ 51008 h 847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98394" h="84789">
                      <a:moveTo>
                        <a:pt x="0" y="0"/>
                      </a:moveTo>
                      <a:lnTo>
                        <a:pt x="198394" y="0"/>
                      </a:lnTo>
                      <a:lnTo>
                        <a:pt x="198394" y="51008"/>
                      </a:lnTo>
                      <a:cubicBezTo>
                        <a:pt x="198260" y="69773"/>
                        <a:pt x="182948" y="84892"/>
                        <a:pt x="164178" y="84788"/>
                      </a:cubicBezTo>
                      <a:lnTo>
                        <a:pt x="34217" y="84788"/>
                      </a:lnTo>
                      <a:cubicBezTo>
                        <a:pt x="15452" y="84923"/>
                        <a:pt x="134" y="69828"/>
                        <a:pt x="0" y="51069"/>
                      </a:cubicBezTo>
                      <a:cubicBezTo>
                        <a:pt x="0" y="51050"/>
                        <a:pt x="0" y="51026"/>
                        <a:pt x="0" y="51008"/>
                      </a:cubicBezTo>
                      <a:close/>
                    </a:path>
                  </a:pathLst>
                </a:custGeom>
                <a:solidFill>
                  <a:srgbClr val="003971"/>
                </a:solidFill>
                <a:ln w="609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92" name="Freihandform 891">
                  <a:extLst>
                    <a:ext uri="{FF2B5EF4-FFF2-40B4-BE49-F238E27FC236}">
                      <a16:creationId xmlns:a16="http://schemas.microsoft.com/office/drawing/2014/main" id="{EDD682EF-0E16-4E42-B6B4-4983680D1658}"/>
                    </a:ext>
                  </a:extLst>
                </p:cNvPr>
                <p:cNvSpPr/>
                <p:nvPr/>
              </p:nvSpPr>
              <p:spPr>
                <a:xfrm>
                  <a:off x="-2600924" y="3803382"/>
                  <a:ext cx="198394" cy="97739"/>
                </a:xfrm>
                <a:custGeom>
                  <a:avLst/>
                  <a:gdLst>
                    <a:gd name="connsiteX0" fmla="*/ 198394 w 198394"/>
                    <a:gd name="connsiteY0" fmla="*/ 97740 h 97739"/>
                    <a:gd name="connsiteX1" fmla="*/ 0 w 198394"/>
                    <a:gd name="connsiteY1" fmla="*/ 97740 h 97739"/>
                    <a:gd name="connsiteX2" fmla="*/ 0 w 198394"/>
                    <a:gd name="connsiteY2" fmla="*/ 55651 h 97739"/>
                    <a:gd name="connsiteX3" fmla="*/ 56335 w 198394"/>
                    <a:gd name="connsiteY3" fmla="*/ 1 h 97739"/>
                    <a:gd name="connsiteX4" fmla="*/ 141876 w 198394"/>
                    <a:gd name="connsiteY4" fmla="*/ 1 h 97739"/>
                    <a:gd name="connsiteX5" fmla="*/ 198272 w 198394"/>
                    <a:gd name="connsiteY5" fmla="*/ 55651 h 97739"/>
                    <a:gd name="connsiteX6" fmla="*/ 198272 w 198394"/>
                    <a:gd name="connsiteY6" fmla="*/ 55651 h 977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98394" h="97739">
                      <a:moveTo>
                        <a:pt x="198394" y="97740"/>
                      </a:moveTo>
                      <a:lnTo>
                        <a:pt x="0" y="97740"/>
                      </a:lnTo>
                      <a:lnTo>
                        <a:pt x="0" y="55651"/>
                      </a:lnTo>
                      <a:cubicBezTo>
                        <a:pt x="202" y="24735"/>
                        <a:pt x="25412" y="-170"/>
                        <a:pt x="56335" y="1"/>
                      </a:cubicBezTo>
                      <a:lnTo>
                        <a:pt x="141876" y="1"/>
                      </a:lnTo>
                      <a:cubicBezTo>
                        <a:pt x="172818" y="-200"/>
                        <a:pt x="198071" y="24711"/>
                        <a:pt x="198272" y="55651"/>
                      </a:cubicBezTo>
                      <a:cubicBezTo>
                        <a:pt x="198272" y="55651"/>
                        <a:pt x="198272" y="55651"/>
                        <a:pt x="198272" y="55651"/>
                      </a:cubicBezTo>
                      <a:close/>
                    </a:path>
                  </a:pathLst>
                </a:custGeom>
                <a:solidFill>
                  <a:srgbClr val="1D1D1B"/>
                </a:solidFill>
                <a:ln w="609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93" name="Freihandform 892">
                  <a:extLst>
                    <a:ext uri="{FF2B5EF4-FFF2-40B4-BE49-F238E27FC236}">
                      <a16:creationId xmlns:a16="http://schemas.microsoft.com/office/drawing/2014/main" id="{9315EF87-5730-B44A-B8B2-A6E633E40049}"/>
                    </a:ext>
                  </a:extLst>
                </p:cNvPr>
                <p:cNvSpPr/>
                <p:nvPr/>
              </p:nvSpPr>
              <p:spPr>
                <a:xfrm>
                  <a:off x="-2628480" y="3847549"/>
                  <a:ext cx="253751" cy="22724"/>
                </a:xfrm>
                <a:custGeom>
                  <a:avLst/>
                  <a:gdLst>
                    <a:gd name="connsiteX0" fmla="*/ 242265 w 253751"/>
                    <a:gd name="connsiteY0" fmla="*/ 22724 h 22724"/>
                    <a:gd name="connsiteX1" fmla="*/ 11365 w 253751"/>
                    <a:gd name="connsiteY1" fmla="*/ 22724 h 22724"/>
                    <a:gd name="connsiteX2" fmla="*/ 0 w 253751"/>
                    <a:gd name="connsiteY2" fmla="*/ 11362 h 22724"/>
                    <a:gd name="connsiteX3" fmla="*/ 11365 w 253751"/>
                    <a:gd name="connsiteY3" fmla="*/ 0 h 22724"/>
                    <a:gd name="connsiteX4" fmla="*/ 242387 w 253751"/>
                    <a:gd name="connsiteY4" fmla="*/ 0 h 22724"/>
                    <a:gd name="connsiteX5" fmla="*/ 253752 w 253751"/>
                    <a:gd name="connsiteY5" fmla="*/ 11362 h 22724"/>
                    <a:gd name="connsiteX6" fmla="*/ 242387 w 253751"/>
                    <a:gd name="connsiteY6" fmla="*/ 22724 h 22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3751" h="22724">
                      <a:moveTo>
                        <a:pt x="242265" y="22724"/>
                      </a:moveTo>
                      <a:lnTo>
                        <a:pt x="11365" y="22724"/>
                      </a:lnTo>
                      <a:cubicBezTo>
                        <a:pt x="5090" y="22724"/>
                        <a:pt x="0" y="17636"/>
                        <a:pt x="0" y="11362"/>
                      </a:cubicBezTo>
                      <a:cubicBezTo>
                        <a:pt x="0" y="5089"/>
                        <a:pt x="5090" y="0"/>
                        <a:pt x="11365" y="0"/>
                      </a:cubicBezTo>
                      <a:lnTo>
                        <a:pt x="242387" y="0"/>
                      </a:lnTo>
                      <a:cubicBezTo>
                        <a:pt x="248662" y="0"/>
                        <a:pt x="253752" y="5089"/>
                        <a:pt x="253752" y="11362"/>
                      </a:cubicBezTo>
                      <a:cubicBezTo>
                        <a:pt x="253752" y="17636"/>
                        <a:pt x="248662" y="22724"/>
                        <a:pt x="242387" y="22724"/>
                      </a:cubicBezTo>
                    </a:path>
                  </a:pathLst>
                </a:custGeom>
                <a:solidFill>
                  <a:srgbClr val="1D1D1B"/>
                </a:solidFill>
                <a:ln w="609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94" name="Freihandform 893">
                  <a:extLst>
                    <a:ext uri="{FF2B5EF4-FFF2-40B4-BE49-F238E27FC236}">
                      <a16:creationId xmlns:a16="http://schemas.microsoft.com/office/drawing/2014/main" id="{C960F5A7-9A93-D440-BE1D-8D05467E1396}"/>
                    </a:ext>
                  </a:extLst>
                </p:cNvPr>
                <p:cNvSpPr/>
                <p:nvPr/>
              </p:nvSpPr>
              <p:spPr>
                <a:xfrm>
                  <a:off x="-2573184" y="3835147"/>
                  <a:ext cx="142853" cy="62004"/>
                </a:xfrm>
                <a:custGeom>
                  <a:avLst/>
                  <a:gdLst>
                    <a:gd name="connsiteX0" fmla="*/ 142854 w 142853"/>
                    <a:gd name="connsiteY0" fmla="*/ 62004 h 62004"/>
                    <a:gd name="connsiteX1" fmla="*/ 0 w 142853"/>
                    <a:gd name="connsiteY1" fmla="*/ 62004 h 62004"/>
                    <a:gd name="connsiteX2" fmla="*/ 0 w 142853"/>
                    <a:gd name="connsiteY2" fmla="*/ 32316 h 62004"/>
                    <a:gd name="connsiteX3" fmla="*/ 32689 w 142853"/>
                    <a:gd name="connsiteY3" fmla="*/ 1 h 62004"/>
                    <a:gd name="connsiteX4" fmla="*/ 32689 w 142853"/>
                    <a:gd name="connsiteY4" fmla="*/ 1 h 62004"/>
                    <a:gd name="connsiteX5" fmla="*/ 110165 w 142853"/>
                    <a:gd name="connsiteY5" fmla="*/ 1 h 62004"/>
                    <a:gd name="connsiteX6" fmla="*/ 142854 w 142853"/>
                    <a:gd name="connsiteY6" fmla="*/ 32194 h 62004"/>
                    <a:gd name="connsiteX7" fmla="*/ 142854 w 142853"/>
                    <a:gd name="connsiteY7" fmla="*/ 32316 h 620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42853" h="62004">
                      <a:moveTo>
                        <a:pt x="142854" y="62004"/>
                      </a:moveTo>
                      <a:lnTo>
                        <a:pt x="0" y="62004"/>
                      </a:lnTo>
                      <a:lnTo>
                        <a:pt x="0" y="32316"/>
                      </a:lnTo>
                      <a:cubicBezTo>
                        <a:pt x="104" y="14368"/>
                        <a:pt x="14738" y="-103"/>
                        <a:pt x="32689" y="1"/>
                      </a:cubicBezTo>
                      <a:cubicBezTo>
                        <a:pt x="32689" y="1"/>
                        <a:pt x="32689" y="1"/>
                        <a:pt x="32689" y="1"/>
                      </a:cubicBezTo>
                      <a:lnTo>
                        <a:pt x="110165" y="1"/>
                      </a:lnTo>
                      <a:cubicBezTo>
                        <a:pt x="128086" y="-133"/>
                        <a:pt x="142719" y="14277"/>
                        <a:pt x="142854" y="32194"/>
                      </a:cubicBezTo>
                      <a:cubicBezTo>
                        <a:pt x="142854" y="32236"/>
                        <a:pt x="142854" y="32273"/>
                        <a:pt x="142854" y="32316"/>
                      </a:cubicBezTo>
                      <a:close/>
                    </a:path>
                  </a:pathLst>
                </a:custGeom>
                <a:solidFill>
                  <a:srgbClr val="9D9D9C"/>
                </a:solidFill>
                <a:ln w="609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890" name="Freihandform 889">
                <a:extLst>
                  <a:ext uri="{FF2B5EF4-FFF2-40B4-BE49-F238E27FC236}">
                    <a16:creationId xmlns:a16="http://schemas.microsoft.com/office/drawing/2014/main" id="{E0F28100-3D08-F543-BD59-E38625A9CAAE}"/>
                  </a:ext>
                </a:extLst>
              </p:cNvPr>
              <p:cNvSpPr/>
              <p:nvPr/>
            </p:nvSpPr>
            <p:spPr>
              <a:xfrm>
                <a:off x="4498139" y="2294653"/>
                <a:ext cx="456445" cy="15971"/>
              </a:xfrm>
              <a:custGeom>
                <a:avLst/>
                <a:gdLst>
                  <a:gd name="connsiteX0" fmla="*/ 0 w 174565"/>
                  <a:gd name="connsiteY0" fmla="*/ 0 h 6108"/>
                  <a:gd name="connsiteX1" fmla="*/ 174565 w 174565"/>
                  <a:gd name="connsiteY1" fmla="*/ 0 h 6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4565" h="6108">
                    <a:moveTo>
                      <a:pt x="0" y="0"/>
                    </a:moveTo>
                    <a:lnTo>
                      <a:pt x="174565" y="0"/>
                    </a:lnTo>
                  </a:path>
                </a:pathLst>
              </a:custGeom>
              <a:ln w="31750" cap="flat">
                <a:solidFill>
                  <a:srgbClr val="F1D100"/>
                </a:solidFill>
                <a:prstDash val="sysDash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895" name="Gruppieren 894">
              <a:extLst>
                <a:ext uri="{FF2B5EF4-FFF2-40B4-BE49-F238E27FC236}">
                  <a16:creationId xmlns:a16="http://schemas.microsoft.com/office/drawing/2014/main" id="{26FAAF9F-7478-FF4E-9C83-281EAE009564}"/>
                </a:ext>
              </a:extLst>
            </p:cNvPr>
            <p:cNvGrpSpPr/>
            <p:nvPr/>
          </p:nvGrpSpPr>
          <p:grpSpPr>
            <a:xfrm>
              <a:off x="6383406" y="2832222"/>
              <a:ext cx="456905" cy="298742"/>
              <a:chOff x="2884046" y="1966572"/>
              <a:chExt cx="663496" cy="433819"/>
            </a:xfrm>
          </p:grpSpPr>
          <p:grpSp>
            <p:nvGrpSpPr>
              <p:cNvPr id="896" name="Grafik 5">
                <a:extLst>
                  <a:ext uri="{FF2B5EF4-FFF2-40B4-BE49-F238E27FC236}">
                    <a16:creationId xmlns:a16="http://schemas.microsoft.com/office/drawing/2014/main" id="{F474C95B-7599-6348-851A-C875D07257FC}"/>
                  </a:ext>
                </a:extLst>
              </p:cNvPr>
              <p:cNvGrpSpPr/>
              <p:nvPr/>
            </p:nvGrpSpPr>
            <p:grpSpPr>
              <a:xfrm>
                <a:off x="2884046" y="1966572"/>
                <a:ext cx="663496" cy="433819"/>
                <a:chOff x="-3201667" y="3790676"/>
                <a:chExt cx="253751" cy="165912"/>
              </a:xfrm>
            </p:grpSpPr>
            <p:sp>
              <p:nvSpPr>
                <p:cNvPr id="898" name="Freihandform 897">
                  <a:extLst>
                    <a:ext uri="{FF2B5EF4-FFF2-40B4-BE49-F238E27FC236}">
                      <a16:creationId xmlns:a16="http://schemas.microsoft.com/office/drawing/2014/main" id="{F7E93718-98D4-9A40-BD0B-18062D88823E}"/>
                    </a:ext>
                  </a:extLst>
                </p:cNvPr>
                <p:cNvSpPr/>
                <p:nvPr/>
              </p:nvSpPr>
              <p:spPr>
                <a:xfrm>
                  <a:off x="-3008100" y="3883302"/>
                  <a:ext cx="32322" cy="73286"/>
                </a:xfrm>
                <a:custGeom>
                  <a:avLst/>
                  <a:gdLst>
                    <a:gd name="connsiteX0" fmla="*/ 16192 w 32322"/>
                    <a:gd name="connsiteY0" fmla="*/ 73286 h 73286"/>
                    <a:gd name="connsiteX1" fmla="*/ 16192 w 32322"/>
                    <a:gd name="connsiteY1" fmla="*/ 73286 h 73286"/>
                    <a:gd name="connsiteX2" fmla="*/ 0 w 32322"/>
                    <a:gd name="connsiteY2" fmla="*/ 57282 h 73286"/>
                    <a:gd name="connsiteX3" fmla="*/ 0 w 32322"/>
                    <a:gd name="connsiteY3" fmla="*/ 15193 h 73286"/>
                    <a:gd name="connsiteX4" fmla="*/ 17157 w 32322"/>
                    <a:gd name="connsiteY4" fmla="*/ 31 h 73286"/>
                    <a:gd name="connsiteX5" fmla="*/ 32322 w 32322"/>
                    <a:gd name="connsiteY5" fmla="*/ 15193 h 73286"/>
                    <a:gd name="connsiteX6" fmla="*/ 32322 w 32322"/>
                    <a:gd name="connsiteY6" fmla="*/ 57282 h 73286"/>
                    <a:gd name="connsiteX7" fmla="*/ 16192 w 32322"/>
                    <a:gd name="connsiteY7" fmla="*/ 73286 h 73286"/>
                    <a:gd name="connsiteX8" fmla="*/ 16192 w 32322"/>
                    <a:gd name="connsiteY8" fmla="*/ 73286 h 732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2322" h="73286">
                      <a:moveTo>
                        <a:pt x="16192" y="73286"/>
                      </a:moveTo>
                      <a:lnTo>
                        <a:pt x="16192" y="73286"/>
                      </a:lnTo>
                      <a:cubicBezTo>
                        <a:pt x="7308" y="73323"/>
                        <a:pt x="67" y="66164"/>
                        <a:pt x="0" y="57282"/>
                      </a:cubicBezTo>
                      <a:lnTo>
                        <a:pt x="0" y="15193"/>
                      </a:lnTo>
                      <a:cubicBezTo>
                        <a:pt x="550" y="6268"/>
                        <a:pt x="8230" y="-518"/>
                        <a:pt x="17157" y="31"/>
                      </a:cubicBezTo>
                      <a:cubicBezTo>
                        <a:pt x="25314" y="532"/>
                        <a:pt x="31821" y="7038"/>
                        <a:pt x="32322" y="15193"/>
                      </a:cubicBezTo>
                      <a:lnTo>
                        <a:pt x="32322" y="57282"/>
                      </a:lnTo>
                      <a:cubicBezTo>
                        <a:pt x="32286" y="66158"/>
                        <a:pt x="25070" y="73317"/>
                        <a:pt x="16192" y="73286"/>
                      </a:cubicBezTo>
                      <a:cubicBezTo>
                        <a:pt x="16192" y="73286"/>
                        <a:pt x="16192" y="73286"/>
                        <a:pt x="16192" y="73286"/>
                      </a:cubicBezTo>
                    </a:path>
                  </a:pathLst>
                </a:custGeom>
                <a:solidFill>
                  <a:srgbClr val="003971"/>
                </a:solidFill>
                <a:ln w="609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899" name="Freihandform 898">
                  <a:extLst>
                    <a:ext uri="{FF2B5EF4-FFF2-40B4-BE49-F238E27FC236}">
                      <a16:creationId xmlns:a16="http://schemas.microsoft.com/office/drawing/2014/main" id="{5F185CE1-6A12-CB4A-B245-CCF31FB364A7}"/>
                    </a:ext>
                  </a:extLst>
                </p:cNvPr>
                <p:cNvSpPr/>
                <p:nvPr/>
              </p:nvSpPr>
              <p:spPr>
                <a:xfrm>
                  <a:off x="-3173989" y="3846388"/>
                  <a:ext cx="198394" cy="84788"/>
                </a:xfrm>
                <a:custGeom>
                  <a:avLst/>
                  <a:gdLst>
                    <a:gd name="connsiteX0" fmla="*/ 0 w 198394"/>
                    <a:gd name="connsiteY0" fmla="*/ 0 h 84788"/>
                    <a:gd name="connsiteX1" fmla="*/ 198394 w 198394"/>
                    <a:gd name="connsiteY1" fmla="*/ 0 h 84788"/>
                    <a:gd name="connsiteX2" fmla="*/ 198394 w 198394"/>
                    <a:gd name="connsiteY2" fmla="*/ 51007 h 84788"/>
                    <a:gd name="connsiteX3" fmla="*/ 164239 w 198394"/>
                    <a:gd name="connsiteY3" fmla="*/ 84788 h 84788"/>
                    <a:gd name="connsiteX4" fmla="*/ 164178 w 198394"/>
                    <a:gd name="connsiteY4" fmla="*/ 84788 h 84788"/>
                    <a:gd name="connsiteX5" fmla="*/ 34217 w 198394"/>
                    <a:gd name="connsiteY5" fmla="*/ 84788 h 84788"/>
                    <a:gd name="connsiteX6" fmla="*/ 0 w 198394"/>
                    <a:gd name="connsiteY6" fmla="*/ 51007 h 847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98394" h="84788">
                      <a:moveTo>
                        <a:pt x="0" y="0"/>
                      </a:moveTo>
                      <a:lnTo>
                        <a:pt x="198394" y="0"/>
                      </a:lnTo>
                      <a:lnTo>
                        <a:pt x="198394" y="51007"/>
                      </a:lnTo>
                      <a:cubicBezTo>
                        <a:pt x="198297" y="69767"/>
                        <a:pt x="183003" y="84892"/>
                        <a:pt x="164239" y="84788"/>
                      </a:cubicBezTo>
                      <a:cubicBezTo>
                        <a:pt x="164221" y="84788"/>
                        <a:pt x="164196" y="84788"/>
                        <a:pt x="164178" y="84788"/>
                      </a:cubicBezTo>
                      <a:lnTo>
                        <a:pt x="34217" y="84788"/>
                      </a:lnTo>
                      <a:cubicBezTo>
                        <a:pt x="15446" y="84892"/>
                        <a:pt x="134" y="69773"/>
                        <a:pt x="0" y="51007"/>
                      </a:cubicBezTo>
                      <a:close/>
                    </a:path>
                  </a:pathLst>
                </a:custGeom>
                <a:solidFill>
                  <a:srgbClr val="003971"/>
                </a:solidFill>
                <a:ln w="609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00" name="Freihandform 899">
                  <a:extLst>
                    <a:ext uri="{FF2B5EF4-FFF2-40B4-BE49-F238E27FC236}">
                      <a16:creationId xmlns:a16="http://schemas.microsoft.com/office/drawing/2014/main" id="{86B1AF6A-CCEB-7246-AD46-C968CE0DB913}"/>
                    </a:ext>
                  </a:extLst>
                </p:cNvPr>
                <p:cNvSpPr/>
                <p:nvPr/>
              </p:nvSpPr>
              <p:spPr>
                <a:xfrm>
                  <a:off x="-3173989" y="3790676"/>
                  <a:ext cx="198394" cy="97739"/>
                </a:xfrm>
                <a:custGeom>
                  <a:avLst/>
                  <a:gdLst>
                    <a:gd name="connsiteX0" fmla="*/ 198394 w 198394"/>
                    <a:gd name="connsiteY0" fmla="*/ 97740 h 97739"/>
                    <a:gd name="connsiteX1" fmla="*/ 0 w 198394"/>
                    <a:gd name="connsiteY1" fmla="*/ 97740 h 97739"/>
                    <a:gd name="connsiteX2" fmla="*/ 0 w 198394"/>
                    <a:gd name="connsiteY2" fmla="*/ 55651 h 97739"/>
                    <a:gd name="connsiteX3" fmla="*/ 56396 w 198394"/>
                    <a:gd name="connsiteY3" fmla="*/ 1 h 97739"/>
                    <a:gd name="connsiteX4" fmla="*/ 56396 w 198394"/>
                    <a:gd name="connsiteY4" fmla="*/ 1 h 97739"/>
                    <a:gd name="connsiteX5" fmla="*/ 141937 w 198394"/>
                    <a:gd name="connsiteY5" fmla="*/ 1 h 97739"/>
                    <a:gd name="connsiteX6" fmla="*/ 198272 w 198394"/>
                    <a:gd name="connsiteY6" fmla="*/ 55651 h 977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98394" h="97739">
                      <a:moveTo>
                        <a:pt x="198394" y="97740"/>
                      </a:moveTo>
                      <a:lnTo>
                        <a:pt x="0" y="97740"/>
                      </a:lnTo>
                      <a:lnTo>
                        <a:pt x="0" y="55651"/>
                      </a:lnTo>
                      <a:cubicBezTo>
                        <a:pt x="202" y="24717"/>
                        <a:pt x="25448" y="-200"/>
                        <a:pt x="56396" y="1"/>
                      </a:cubicBezTo>
                      <a:cubicBezTo>
                        <a:pt x="56396" y="1"/>
                        <a:pt x="56396" y="1"/>
                        <a:pt x="56396" y="1"/>
                      </a:cubicBezTo>
                      <a:lnTo>
                        <a:pt x="141937" y="1"/>
                      </a:lnTo>
                      <a:cubicBezTo>
                        <a:pt x="172860" y="-170"/>
                        <a:pt x="198071" y="24735"/>
                        <a:pt x="198272" y="55651"/>
                      </a:cubicBezTo>
                      <a:close/>
                    </a:path>
                  </a:pathLst>
                </a:custGeom>
                <a:solidFill>
                  <a:srgbClr val="1D1D1B"/>
                </a:solidFill>
                <a:ln w="609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01" name="Freihandform 900">
                  <a:extLst>
                    <a:ext uri="{FF2B5EF4-FFF2-40B4-BE49-F238E27FC236}">
                      <a16:creationId xmlns:a16="http://schemas.microsoft.com/office/drawing/2014/main" id="{68329CBF-6448-0945-9608-0B346294E2E5}"/>
                    </a:ext>
                  </a:extLst>
                </p:cNvPr>
                <p:cNvSpPr/>
                <p:nvPr/>
              </p:nvSpPr>
              <p:spPr>
                <a:xfrm>
                  <a:off x="-3201667" y="3834843"/>
                  <a:ext cx="253751" cy="22724"/>
                </a:xfrm>
                <a:custGeom>
                  <a:avLst/>
                  <a:gdLst>
                    <a:gd name="connsiteX0" fmla="*/ 242387 w 253751"/>
                    <a:gd name="connsiteY0" fmla="*/ 22724 h 22724"/>
                    <a:gd name="connsiteX1" fmla="*/ 11365 w 253751"/>
                    <a:gd name="connsiteY1" fmla="*/ 22724 h 22724"/>
                    <a:gd name="connsiteX2" fmla="*/ 0 w 253751"/>
                    <a:gd name="connsiteY2" fmla="*/ 11362 h 22724"/>
                    <a:gd name="connsiteX3" fmla="*/ 11365 w 253751"/>
                    <a:gd name="connsiteY3" fmla="*/ 0 h 22724"/>
                    <a:gd name="connsiteX4" fmla="*/ 242387 w 253751"/>
                    <a:gd name="connsiteY4" fmla="*/ 0 h 22724"/>
                    <a:gd name="connsiteX5" fmla="*/ 253752 w 253751"/>
                    <a:gd name="connsiteY5" fmla="*/ 11362 h 22724"/>
                    <a:gd name="connsiteX6" fmla="*/ 242387 w 253751"/>
                    <a:gd name="connsiteY6" fmla="*/ 22724 h 22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3751" h="22724">
                      <a:moveTo>
                        <a:pt x="242387" y="22724"/>
                      </a:moveTo>
                      <a:lnTo>
                        <a:pt x="11365" y="22724"/>
                      </a:lnTo>
                      <a:cubicBezTo>
                        <a:pt x="5090" y="22724"/>
                        <a:pt x="0" y="17636"/>
                        <a:pt x="0" y="11362"/>
                      </a:cubicBezTo>
                      <a:cubicBezTo>
                        <a:pt x="0" y="5089"/>
                        <a:pt x="5090" y="0"/>
                        <a:pt x="11365" y="0"/>
                      </a:cubicBezTo>
                      <a:lnTo>
                        <a:pt x="242387" y="0"/>
                      </a:lnTo>
                      <a:cubicBezTo>
                        <a:pt x="248662" y="0"/>
                        <a:pt x="253752" y="5089"/>
                        <a:pt x="253752" y="11362"/>
                      </a:cubicBezTo>
                      <a:cubicBezTo>
                        <a:pt x="253752" y="17636"/>
                        <a:pt x="248662" y="22724"/>
                        <a:pt x="242387" y="22724"/>
                      </a:cubicBezTo>
                    </a:path>
                  </a:pathLst>
                </a:custGeom>
                <a:solidFill>
                  <a:srgbClr val="1D1D1B"/>
                </a:solidFill>
                <a:ln w="609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902" name="Freihandform 901">
                  <a:extLst>
                    <a:ext uri="{FF2B5EF4-FFF2-40B4-BE49-F238E27FC236}">
                      <a16:creationId xmlns:a16="http://schemas.microsoft.com/office/drawing/2014/main" id="{29AB77A5-F46B-5942-887D-F4BC7F3D8BEE}"/>
                    </a:ext>
                  </a:extLst>
                </p:cNvPr>
                <p:cNvSpPr/>
                <p:nvPr/>
              </p:nvSpPr>
              <p:spPr>
                <a:xfrm>
                  <a:off x="-3146188" y="3822442"/>
                  <a:ext cx="142853" cy="62003"/>
                </a:xfrm>
                <a:custGeom>
                  <a:avLst/>
                  <a:gdLst>
                    <a:gd name="connsiteX0" fmla="*/ 142854 w 142853"/>
                    <a:gd name="connsiteY0" fmla="*/ 62004 h 62003"/>
                    <a:gd name="connsiteX1" fmla="*/ 0 w 142853"/>
                    <a:gd name="connsiteY1" fmla="*/ 62004 h 62003"/>
                    <a:gd name="connsiteX2" fmla="*/ 0 w 142853"/>
                    <a:gd name="connsiteY2" fmla="*/ 32316 h 62003"/>
                    <a:gd name="connsiteX3" fmla="*/ 32689 w 142853"/>
                    <a:gd name="connsiteY3" fmla="*/ 1 h 62003"/>
                    <a:gd name="connsiteX4" fmla="*/ 32689 w 142853"/>
                    <a:gd name="connsiteY4" fmla="*/ 1 h 62003"/>
                    <a:gd name="connsiteX5" fmla="*/ 110165 w 142853"/>
                    <a:gd name="connsiteY5" fmla="*/ 1 h 62003"/>
                    <a:gd name="connsiteX6" fmla="*/ 142854 w 142853"/>
                    <a:gd name="connsiteY6" fmla="*/ 32316 h 62003"/>
                    <a:gd name="connsiteX7" fmla="*/ 142854 w 142853"/>
                    <a:gd name="connsiteY7" fmla="*/ 32316 h 620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42853" h="62003">
                      <a:moveTo>
                        <a:pt x="142854" y="62004"/>
                      </a:moveTo>
                      <a:lnTo>
                        <a:pt x="0" y="62004"/>
                      </a:lnTo>
                      <a:lnTo>
                        <a:pt x="0" y="32316"/>
                      </a:lnTo>
                      <a:cubicBezTo>
                        <a:pt x="104" y="14368"/>
                        <a:pt x="14738" y="-103"/>
                        <a:pt x="32689" y="1"/>
                      </a:cubicBezTo>
                      <a:cubicBezTo>
                        <a:pt x="32689" y="1"/>
                        <a:pt x="32689" y="1"/>
                        <a:pt x="32689" y="1"/>
                      </a:cubicBezTo>
                      <a:lnTo>
                        <a:pt x="110165" y="1"/>
                      </a:lnTo>
                      <a:cubicBezTo>
                        <a:pt x="128116" y="-103"/>
                        <a:pt x="142750" y="14368"/>
                        <a:pt x="142854" y="32316"/>
                      </a:cubicBezTo>
                      <a:cubicBezTo>
                        <a:pt x="142854" y="32316"/>
                        <a:pt x="142854" y="32316"/>
                        <a:pt x="142854" y="32316"/>
                      </a:cubicBezTo>
                      <a:close/>
                    </a:path>
                  </a:pathLst>
                </a:custGeom>
                <a:solidFill>
                  <a:srgbClr val="9D9D9C"/>
                </a:solidFill>
                <a:ln w="609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897" name="Freihandform 896">
                <a:extLst>
                  <a:ext uri="{FF2B5EF4-FFF2-40B4-BE49-F238E27FC236}">
                    <a16:creationId xmlns:a16="http://schemas.microsoft.com/office/drawing/2014/main" id="{F1D2FCD3-7EB7-CC48-8F5B-1E73828E49CF}"/>
                  </a:ext>
                </a:extLst>
              </p:cNvPr>
              <p:cNvSpPr/>
              <p:nvPr/>
            </p:nvSpPr>
            <p:spPr>
              <a:xfrm>
                <a:off x="3014732" y="2261430"/>
                <a:ext cx="460756" cy="15971"/>
              </a:xfrm>
              <a:custGeom>
                <a:avLst/>
                <a:gdLst>
                  <a:gd name="connsiteX0" fmla="*/ 0 w 176214"/>
                  <a:gd name="connsiteY0" fmla="*/ 0 h 6108"/>
                  <a:gd name="connsiteX1" fmla="*/ 176215 w 176214"/>
                  <a:gd name="connsiteY1" fmla="*/ 0 h 61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6214" h="6108">
                    <a:moveTo>
                      <a:pt x="0" y="0"/>
                    </a:moveTo>
                    <a:lnTo>
                      <a:pt x="176215" y="0"/>
                    </a:lnTo>
                  </a:path>
                </a:pathLst>
              </a:custGeom>
              <a:ln w="31750" cap="flat">
                <a:solidFill>
                  <a:srgbClr val="F1D100"/>
                </a:solidFill>
                <a:prstDash val="sysDash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903" name="Gruppieren 902">
            <a:extLst>
              <a:ext uri="{FF2B5EF4-FFF2-40B4-BE49-F238E27FC236}">
                <a16:creationId xmlns:a16="http://schemas.microsoft.com/office/drawing/2014/main" id="{0C7EEF8C-2A3A-C94A-BD28-47F27B9E292C}"/>
              </a:ext>
            </a:extLst>
          </p:cNvPr>
          <p:cNvGrpSpPr/>
          <p:nvPr/>
        </p:nvGrpSpPr>
        <p:grpSpPr>
          <a:xfrm>
            <a:off x="7893871" y="747200"/>
            <a:ext cx="987519" cy="596322"/>
            <a:chOff x="10326885" y="3707386"/>
            <a:chExt cx="1901826" cy="1148434"/>
          </a:xfrm>
        </p:grpSpPr>
        <p:sp>
          <p:nvSpPr>
            <p:cNvPr id="904" name="Freihandform 903">
              <a:extLst>
                <a:ext uri="{FF2B5EF4-FFF2-40B4-BE49-F238E27FC236}">
                  <a16:creationId xmlns:a16="http://schemas.microsoft.com/office/drawing/2014/main" id="{31072B18-8733-D34B-A92E-4DCE573691BA}"/>
                </a:ext>
              </a:extLst>
            </p:cNvPr>
            <p:cNvSpPr/>
            <p:nvPr/>
          </p:nvSpPr>
          <p:spPr>
            <a:xfrm>
              <a:off x="10326885" y="4568315"/>
              <a:ext cx="939411" cy="45361"/>
            </a:xfrm>
            <a:custGeom>
              <a:avLst/>
              <a:gdLst>
                <a:gd name="connsiteX0" fmla="*/ 0 w 359273"/>
                <a:gd name="connsiteY0" fmla="*/ 6048 h 17348"/>
                <a:gd name="connsiteX1" fmla="*/ 1283 w 359273"/>
                <a:gd name="connsiteY1" fmla="*/ 15333 h 17348"/>
                <a:gd name="connsiteX2" fmla="*/ 359273 w 359273"/>
                <a:gd name="connsiteY2" fmla="*/ 17349 h 17348"/>
                <a:gd name="connsiteX3" fmla="*/ 356768 w 359273"/>
                <a:gd name="connsiteY3" fmla="*/ 0 h 17348"/>
                <a:gd name="connsiteX4" fmla="*/ 0 w 359273"/>
                <a:gd name="connsiteY4" fmla="*/ 6048 h 17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9273" h="17348">
                  <a:moveTo>
                    <a:pt x="0" y="6048"/>
                  </a:moveTo>
                  <a:lnTo>
                    <a:pt x="1283" y="15333"/>
                  </a:lnTo>
                  <a:lnTo>
                    <a:pt x="359273" y="17349"/>
                  </a:lnTo>
                  <a:lnTo>
                    <a:pt x="356768" y="0"/>
                  </a:lnTo>
                  <a:lnTo>
                    <a:pt x="0" y="6048"/>
                  </a:lnTo>
                  <a:close/>
                </a:path>
              </a:pathLst>
            </a:custGeom>
            <a:solidFill>
              <a:srgbClr val="003971"/>
            </a:solidFill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905" name="Grafik 5">
              <a:extLst>
                <a:ext uri="{FF2B5EF4-FFF2-40B4-BE49-F238E27FC236}">
                  <a16:creationId xmlns:a16="http://schemas.microsoft.com/office/drawing/2014/main" id="{1694BFBA-097E-4E41-95C3-E1F45707B033}"/>
                </a:ext>
              </a:extLst>
            </p:cNvPr>
            <p:cNvGrpSpPr/>
            <p:nvPr/>
          </p:nvGrpSpPr>
          <p:grpSpPr>
            <a:xfrm>
              <a:off x="11526589" y="3845071"/>
              <a:ext cx="426968" cy="411316"/>
              <a:chOff x="-3325810" y="4139299"/>
              <a:chExt cx="163292" cy="157306"/>
            </a:xfrm>
            <a:solidFill>
              <a:srgbClr val="003971"/>
            </a:solidFill>
          </p:grpSpPr>
          <p:sp>
            <p:nvSpPr>
              <p:cNvPr id="912" name="Freihandform 911">
                <a:extLst>
                  <a:ext uri="{FF2B5EF4-FFF2-40B4-BE49-F238E27FC236}">
                    <a16:creationId xmlns:a16="http://schemas.microsoft.com/office/drawing/2014/main" id="{7BC03C4E-E65C-884B-A333-6E9F6888637D}"/>
                  </a:ext>
                </a:extLst>
              </p:cNvPr>
              <p:cNvSpPr/>
              <p:nvPr/>
            </p:nvSpPr>
            <p:spPr>
              <a:xfrm>
                <a:off x="-3234207" y="4190172"/>
                <a:ext cx="71688" cy="106433"/>
              </a:xfrm>
              <a:custGeom>
                <a:avLst/>
                <a:gdLst>
                  <a:gd name="connsiteX0" fmla="*/ 70850 w 71688"/>
                  <a:gd name="connsiteY0" fmla="*/ 86144 h 106433"/>
                  <a:gd name="connsiteX1" fmla="*/ 34189 w 71688"/>
                  <a:gd name="connsiteY1" fmla="*/ 623 h 106433"/>
                  <a:gd name="connsiteX2" fmla="*/ 18058 w 71688"/>
                  <a:gd name="connsiteY2" fmla="*/ 1784 h 106433"/>
                  <a:gd name="connsiteX3" fmla="*/ 1744 w 71688"/>
                  <a:gd name="connsiteY3" fmla="*/ 39169 h 106433"/>
                  <a:gd name="connsiteX4" fmla="*/ 6021 w 71688"/>
                  <a:gd name="connsiteY4" fmla="*/ 85472 h 106433"/>
                  <a:gd name="connsiteX5" fmla="*/ 33761 w 71688"/>
                  <a:gd name="connsiteY5" fmla="*/ 106242 h 106433"/>
                  <a:gd name="connsiteX6" fmla="*/ 49464 w 71688"/>
                  <a:gd name="connsiteY6" fmla="*/ 104531 h 106433"/>
                  <a:gd name="connsiteX7" fmla="*/ 70605 w 71688"/>
                  <a:gd name="connsiteY7" fmla="*/ 86205 h 106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1688" h="106433">
                    <a:moveTo>
                      <a:pt x="70850" y="86144"/>
                    </a:moveTo>
                    <a:cubicBezTo>
                      <a:pt x="73049" y="59510"/>
                      <a:pt x="73843" y="8931"/>
                      <a:pt x="34189" y="623"/>
                    </a:cubicBezTo>
                    <a:cubicBezTo>
                      <a:pt x="28806" y="-501"/>
                      <a:pt x="23221" y="-98"/>
                      <a:pt x="18058" y="1784"/>
                    </a:cubicBezTo>
                    <a:cubicBezTo>
                      <a:pt x="8466" y="5388"/>
                      <a:pt x="-4793" y="14917"/>
                      <a:pt x="1744" y="39169"/>
                    </a:cubicBezTo>
                    <a:cubicBezTo>
                      <a:pt x="5649" y="54275"/>
                      <a:pt x="7091" y="69907"/>
                      <a:pt x="6021" y="85472"/>
                    </a:cubicBezTo>
                    <a:cubicBezTo>
                      <a:pt x="5227" y="97995"/>
                      <a:pt x="18242" y="107952"/>
                      <a:pt x="33761" y="106242"/>
                    </a:cubicBezTo>
                    <a:lnTo>
                      <a:pt x="49464" y="104531"/>
                    </a:lnTo>
                    <a:cubicBezTo>
                      <a:pt x="59943" y="104153"/>
                      <a:pt x="68742" y="96523"/>
                      <a:pt x="70605" y="86205"/>
                    </a:cubicBezTo>
                  </a:path>
                </a:pathLst>
              </a:custGeom>
              <a:solidFill>
                <a:srgbClr val="00397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13" name="Freihandform 912">
                <a:extLst>
                  <a:ext uri="{FF2B5EF4-FFF2-40B4-BE49-F238E27FC236}">
                    <a16:creationId xmlns:a16="http://schemas.microsoft.com/office/drawing/2014/main" id="{1E44E322-BD0E-C44E-BB65-00E612FD7DBC}"/>
                  </a:ext>
                </a:extLst>
              </p:cNvPr>
              <p:cNvSpPr/>
              <p:nvPr/>
            </p:nvSpPr>
            <p:spPr>
              <a:xfrm>
                <a:off x="-3253664" y="4139299"/>
                <a:ext cx="50102" cy="50091"/>
              </a:xfrm>
              <a:custGeom>
                <a:avLst/>
                <a:gdLst>
                  <a:gd name="connsiteX0" fmla="*/ 0 w 50102"/>
                  <a:gd name="connsiteY0" fmla="*/ 24985 h 50091"/>
                  <a:gd name="connsiteX1" fmla="*/ 24990 w 50102"/>
                  <a:gd name="connsiteY1" fmla="*/ 50091 h 50091"/>
                  <a:gd name="connsiteX2" fmla="*/ 50103 w 50102"/>
                  <a:gd name="connsiteY2" fmla="*/ 25107 h 50091"/>
                  <a:gd name="connsiteX3" fmla="*/ 25113 w 50102"/>
                  <a:gd name="connsiteY3" fmla="*/ 0 h 50091"/>
                  <a:gd name="connsiteX4" fmla="*/ 25051 w 50102"/>
                  <a:gd name="connsiteY4" fmla="*/ 0 h 50091"/>
                  <a:gd name="connsiteX5" fmla="*/ 0 w 50102"/>
                  <a:gd name="connsiteY5" fmla="*/ 24985 h 50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102" h="50091">
                    <a:moveTo>
                      <a:pt x="0" y="24985"/>
                    </a:moveTo>
                    <a:cubicBezTo>
                      <a:pt x="-37" y="38815"/>
                      <a:pt x="11157" y="50055"/>
                      <a:pt x="24990" y="50091"/>
                    </a:cubicBezTo>
                    <a:cubicBezTo>
                      <a:pt x="38824" y="50122"/>
                      <a:pt x="50066" y="38937"/>
                      <a:pt x="50103" y="25107"/>
                    </a:cubicBezTo>
                    <a:cubicBezTo>
                      <a:pt x="50133" y="11277"/>
                      <a:pt x="38946" y="37"/>
                      <a:pt x="25113" y="0"/>
                    </a:cubicBezTo>
                    <a:cubicBezTo>
                      <a:pt x="25094" y="0"/>
                      <a:pt x="25070" y="0"/>
                      <a:pt x="25051" y="0"/>
                    </a:cubicBezTo>
                    <a:cubicBezTo>
                      <a:pt x="11243" y="0"/>
                      <a:pt x="37" y="11179"/>
                      <a:pt x="0" y="24985"/>
                    </a:cubicBezTo>
                  </a:path>
                </a:pathLst>
              </a:custGeom>
              <a:solidFill>
                <a:srgbClr val="00397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14" name="Freihandform 913">
                <a:extLst>
                  <a:ext uri="{FF2B5EF4-FFF2-40B4-BE49-F238E27FC236}">
                    <a16:creationId xmlns:a16="http://schemas.microsoft.com/office/drawing/2014/main" id="{8BB167BA-EB51-C548-83A0-84B0122BD5DE}"/>
                  </a:ext>
                </a:extLst>
              </p:cNvPr>
              <p:cNvSpPr/>
              <p:nvPr/>
            </p:nvSpPr>
            <p:spPr>
              <a:xfrm>
                <a:off x="-3297970" y="4203400"/>
                <a:ext cx="102490" cy="52289"/>
              </a:xfrm>
              <a:custGeom>
                <a:avLst/>
                <a:gdLst>
                  <a:gd name="connsiteX0" fmla="*/ 82066 w 102490"/>
                  <a:gd name="connsiteY0" fmla="*/ 40 h 52289"/>
                  <a:gd name="connsiteX1" fmla="*/ 18338 w 102490"/>
                  <a:gd name="connsiteY1" fmla="*/ 28506 h 52289"/>
                  <a:gd name="connsiteX2" fmla="*/ 2268 w 102490"/>
                  <a:gd name="connsiteY2" fmla="*/ 42617 h 52289"/>
                  <a:gd name="connsiteX3" fmla="*/ 8012 w 102490"/>
                  <a:gd name="connsiteY3" fmla="*/ 47810 h 52289"/>
                  <a:gd name="connsiteX4" fmla="*/ 83960 w 102490"/>
                  <a:gd name="connsiteY4" fmla="*/ 32233 h 52289"/>
                  <a:gd name="connsiteX5" fmla="*/ 82066 w 102490"/>
                  <a:gd name="connsiteY5" fmla="*/ 40 h 52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2490" h="52289">
                    <a:moveTo>
                      <a:pt x="82066" y="40"/>
                    </a:moveTo>
                    <a:cubicBezTo>
                      <a:pt x="82066" y="2483"/>
                      <a:pt x="48705" y="32844"/>
                      <a:pt x="18338" y="28506"/>
                    </a:cubicBezTo>
                    <a:cubicBezTo>
                      <a:pt x="-4209" y="25269"/>
                      <a:pt x="-909" y="36631"/>
                      <a:pt x="2268" y="42617"/>
                    </a:cubicBezTo>
                    <a:cubicBezTo>
                      <a:pt x="3515" y="44969"/>
                      <a:pt x="5549" y="46802"/>
                      <a:pt x="8012" y="47810"/>
                    </a:cubicBezTo>
                    <a:cubicBezTo>
                      <a:pt x="18277" y="51903"/>
                      <a:pt x="49133" y="60455"/>
                      <a:pt x="83960" y="32233"/>
                    </a:cubicBezTo>
                    <a:cubicBezTo>
                      <a:pt x="126731" y="-2465"/>
                      <a:pt x="82066" y="40"/>
                      <a:pt x="82066" y="40"/>
                    </a:cubicBezTo>
                  </a:path>
                </a:pathLst>
              </a:custGeom>
              <a:solidFill>
                <a:srgbClr val="00397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15" name="Freihandform 914">
                <a:extLst>
                  <a:ext uri="{FF2B5EF4-FFF2-40B4-BE49-F238E27FC236}">
                    <a16:creationId xmlns:a16="http://schemas.microsoft.com/office/drawing/2014/main" id="{BEDE59D6-6431-5849-A278-C4CEDE6454FE}"/>
                  </a:ext>
                </a:extLst>
              </p:cNvPr>
              <p:cNvSpPr/>
              <p:nvPr/>
            </p:nvSpPr>
            <p:spPr>
              <a:xfrm>
                <a:off x="-3325810" y="4240258"/>
                <a:ext cx="50166" cy="43548"/>
              </a:xfrm>
              <a:custGeom>
                <a:avLst/>
                <a:gdLst>
                  <a:gd name="connsiteX0" fmla="*/ 20760 w 50166"/>
                  <a:gd name="connsiteY0" fmla="*/ 26467 h 43548"/>
                  <a:gd name="connsiteX1" fmla="*/ 49783 w 50166"/>
                  <a:gd name="connsiteY1" fmla="*/ 43022 h 43548"/>
                  <a:gd name="connsiteX2" fmla="*/ 29559 w 50166"/>
                  <a:gd name="connsiteY2" fmla="*/ 17121 h 43548"/>
                  <a:gd name="connsiteX3" fmla="*/ 536 w 50166"/>
                  <a:gd name="connsiteY3" fmla="*/ 506 h 43548"/>
                  <a:gd name="connsiteX4" fmla="*/ 13123 w 50166"/>
                  <a:gd name="connsiteY4" fmla="*/ 19442 h 43548"/>
                  <a:gd name="connsiteX5" fmla="*/ 20760 w 50166"/>
                  <a:gd name="connsiteY5" fmla="*/ 26467 h 43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166" h="43548">
                    <a:moveTo>
                      <a:pt x="20760" y="26467"/>
                    </a:moveTo>
                    <a:cubicBezTo>
                      <a:pt x="34386" y="38196"/>
                      <a:pt x="47400" y="45648"/>
                      <a:pt x="49783" y="43022"/>
                    </a:cubicBezTo>
                    <a:cubicBezTo>
                      <a:pt x="52166" y="40395"/>
                      <a:pt x="43184" y="28850"/>
                      <a:pt x="29559" y="17121"/>
                    </a:cubicBezTo>
                    <a:cubicBezTo>
                      <a:pt x="15934" y="5393"/>
                      <a:pt x="2919" y="-2060"/>
                      <a:pt x="536" y="506"/>
                    </a:cubicBezTo>
                    <a:cubicBezTo>
                      <a:pt x="-1847" y="3071"/>
                      <a:pt x="3958" y="10402"/>
                      <a:pt x="13123" y="19442"/>
                    </a:cubicBezTo>
                    <a:cubicBezTo>
                      <a:pt x="15445" y="21703"/>
                      <a:pt x="18011" y="24085"/>
                      <a:pt x="20760" y="26467"/>
                    </a:cubicBezTo>
                  </a:path>
                </a:pathLst>
              </a:custGeom>
              <a:solidFill>
                <a:srgbClr val="00397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906" name="Freihandform 905">
              <a:extLst>
                <a:ext uri="{FF2B5EF4-FFF2-40B4-BE49-F238E27FC236}">
                  <a16:creationId xmlns:a16="http://schemas.microsoft.com/office/drawing/2014/main" id="{FB1186C3-549A-DC41-A084-8E34BE0856DE}"/>
                </a:ext>
              </a:extLst>
            </p:cNvPr>
            <p:cNvSpPr/>
            <p:nvPr/>
          </p:nvSpPr>
          <p:spPr>
            <a:xfrm>
              <a:off x="11511533" y="4167559"/>
              <a:ext cx="103526" cy="97434"/>
            </a:xfrm>
            <a:custGeom>
              <a:avLst/>
              <a:gdLst>
                <a:gd name="connsiteX0" fmla="*/ 39593 w 39593"/>
                <a:gd name="connsiteY0" fmla="*/ 9408 h 37263"/>
                <a:gd name="connsiteX1" fmla="*/ 11120 w 39593"/>
                <a:gd name="connsiteY1" fmla="*/ 37263 h 37263"/>
                <a:gd name="connsiteX2" fmla="*/ 0 w 39593"/>
                <a:gd name="connsiteY2" fmla="*/ 21197 h 37263"/>
                <a:gd name="connsiteX3" fmla="*/ 25479 w 39593"/>
                <a:gd name="connsiteY3" fmla="*/ 0 h 37263"/>
                <a:gd name="connsiteX4" fmla="*/ 39593 w 39593"/>
                <a:gd name="connsiteY4" fmla="*/ 9408 h 37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593" h="37263">
                  <a:moveTo>
                    <a:pt x="39593" y="9408"/>
                  </a:moveTo>
                  <a:lnTo>
                    <a:pt x="11120" y="37263"/>
                  </a:lnTo>
                  <a:lnTo>
                    <a:pt x="0" y="21197"/>
                  </a:lnTo>
                  <a:lnTo>
                    <a:pt x="25479" y="0"/>
                  </a:lnTo>
                  <a:lnTo>
                    <a:pt x="39593" y="9408"/>
                  </a:lnTo>
                  <a:close/>
                </a:path>
              </a:pathLst>
            </a:custGeom>
            <a:solidFill>
              <a:srgbClr val="003971"/>
            </a:solidFill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907" name="Grafik 5">
              <a:extLst>
                <a:ext uri="{FF2B5EF4-FFF2-40B4-BE49-F238E27FC236}">
                  <a16:creationId xmlns:a16="http://schemas.microsoft.com/office/drawing/2014/main" id="{CB38D34F-4F4A-254C-AB04-B869D8D2475C}"/>
                </a:ext>
              </a:extLst>
            </p:cNvPr>
            <p:cNvGrpSpPr/>
            <p:nvPr/>
          </p:nvGrpSpPr>
          <p:grpSpPr>
            <a:xfrm>
              <a:off x="11248079" y="3707386"/>
              <a:ext cx="980632" cy="1148434"/>
              <a:chOff x="-3432325" y="4086642"/>
              <a:chExt cx="375038" cy="439213"/>
            </a:xfrm>
            <a:solidFill>
              <a:srgbClr val="003971"/>
            </a:solidFill>
          </p:grpSpPr>
          <p:sp>
            <p:nvSpPr>
              <p:cNvPr id="909" name="Freihandform 908">
                <a:extLst>
                  <a:ext uri="{FF2B5EF4-FFF2-40B4-BE49-F238E27FC236}">
                    <a16:creationId xmlns:a16="http://schemas.microsoft.com/office/drawing/2014/main" id="{BB2AA894-6967-E447-BAE7-F2A5A84EA0CA}"/>
                  </a:ext>
                </a:extLst>
              </p:cNvPr>
              <p:cNvSpPr/>
              <p:nvPr/>
            </p:nvSpPr>
            <p:spPr>
              <a:xfrm>
                <a:off x="-3432325" y="4086642"/>
                <a:ext cx="375038" cy="364016"/>
              </a:xfrm>
              <a:custGeom>
                <a:avLst/>
                <a:gdLst>
                  <a:gd name="connsiteX0" fmla="*/ 114077 w 375038"/>
                  <a:gd name="connsiteY0" fmla="*/ 201037 h 364016"/>
                  <a:gd name="connsiteX1" fmla="*/ 114077 w 375038"/>
                  <a:gd name="connsiteY1" fmla="*/ 226387 h 364016"/>
                  <a:gd name="connsiteX2" fmla="*/ 119063 w 375038"/>
                  <a:gd name="connsiteY2" fmla="*/ 231176 h 364016"/>
                  <a:gd name="connsiteX3" fmla="*/ 122937 w 375038"/>
                  <a:gd name="connsiteY3" fmla="*/ 229136 h 364016"/>
                  <a:gd name="connsiteX4" fmla="*/ 189414 w 375038"/>
                  <a:gd name="connsiteY4" fmla="*/ 193890 h 364016"/>
                  <a:gd name="connsiteX5" fmla="*/ 283632 w 375038"/>
                  <a:gd name="connsiteY5" fmla="*/ 193890 h 364016"/>
                  <a:gd name="connsiteX6" fmla="*/ 282043 w 375038"/>
                  <a:gd name="connsiteY6" fmla="*/ 47892 h 364016"/>
                  <a:gd name="connsiteX7" fmla="*/ 255770 w 375038"/>
                  <a:gd name="connsiteY7" fmla="*/ 21930 h 364016"/>
                  <a:gd name="connsiteX8" fmla="*/ 183549 w 375038"/>
                  <a:gd name="connsiteY8" fmla="*/ 21930 h 364016"/>
                  <a:gd name="connsiteX9" fmla="*/ 138884 w 375038"/>
                  <a:gd name="connsiteY9" fmla="*/ 52474 h 364016"/>
                  <a:gd name="connsiteX10" fmla="*/ 90003 w 375038"/>
                  <a:gd name="connsiteY10" fmla="*/ 181245 h 364016"/>
                  <a:gd name="connsiteX11" fmla="*/ 94647 w 375038"/>
                  <a:gd name="connsiteY11" fmla="*/ 181245 h 364016"/>
                  <a:gd name="connsiteX12" fmla="*/ 114138 w 375038"/>
                  <a:gd name="connsiteY12" fmla="*/ 200731 h 364016"/>
                  <a:gd name="connsiteX13" fmla="*/ 116704 w 375038"/>
                  <a:gd name="connsiteY13" fmla="*/ 46670 h 364016"/>
                  <a:gd name="connsiteX14" fmla="*/ 184526 w 375038"/>
                  <a:gd name="connsiteY14" fmla="*/ 0 h 364016"/>
                  <a:gd name="connsiteX15" fmla="*/ 249110 w 375038"/>
                  <a:gd name="connsiteY15" fmla="*/ 0 h 364016"/>
                  <a:gd name="connsiteX16" fmla="*/ 300373 w 375038"/>
                  <a:gd name="connsiteY16" fmla="*/ 51252 h 364016"/>
                  <a:gd name="connsiteX17" fmla="*/ 300373 w 375038"/>
                  <a:gd name="connsiteY17" fmla="*/ 219057 h 364016"/>
                  <a:gd name="connsiteX18" fmla="*/ 305200 w 375038"/>
                  <a:gd name="connsiteY18" fmla="*/ 223883 h 364016"/>
                  <a:gd name="connsiteX19" fmla="*/ 311310 w 375038"/>
                  <a:gd name="connsiteY19" fmla="*/ 223883 h 364016"/>
                  <a:gd name="connsiteX20" fmla="*/ 354448 w 375038"/>
                  <a:gd name="connsiteY20" fmla="*/ 263284 h 364016"/>
                  <a:gd name="connsiteX21" fmla="*/ 358114 w 375038"/>
                  <a:gd name="connsiteY21" fmla="*/ 267499 h 364016"/>
                  <a:gd name="connsiteX22" fmla="*/ 375039 w 375038"/>
                  <a:gd name="connsiteY22" fmla="*/ 287596 h 364016"/>
                  <a:gd name="connsiteX23" fmla="*/ 375039 w 375038"/>
                  <a:gd name="connsiteY23" fmla="*/ 359190 h 364016"/>
                  <a:gd name="connsiteX24" fmla="*/ 370212 w 375038"/>
                  <a:gd name="connsiteY24" fmla="*/ 364016 h 364016"/>
                  <a:gd name="connsiteX25" fmla="*/ 353287 w 375038"/>
                  <a:gd name="connsiteY25" fmla="*/ 364016 h 364016"/>
                  <a:gd name="connsiteX26" fmla="*/ 349376 w 375038"/>
                  <a:gd name="connsiteY26" fmla="*/ 361939 h 364016"/>
                  <a:gd name="connsiteX27" fmla="*/ 272621 w 375038"/>
                  <a:gd name="connsiteY27" fmla="*/ 349428 h 364016"/>
                  <a:gd name="connsiteX28" fmla="*/ 260108 w 375038"/>
                  <a:gd name="connsiteY28" fmla="*/ 361939 h 364016"/>
                  <a:gd name="connsiteX29" fmla="*/ 256197 w 375038"/>
                  <a:gd name="connsiteY29" fmla="*/ 364016 h 364016"/>
                  <a:gd name="connsiteX30" fmla="*/ 139739 w 375038"/>
                  <a:gd name="connsiteY30" fmla="*/ 364016 h 364016"/>
                  <a:gd name="connsiteX31" fmla="*/ 135829 w 375038"/>
                  <a:gd name="connsiteY31" fmla="*/ 361939 h 364016"/>
                  <a:gd name="connsiteX32" fmla="*/ 59073 w 375038"/>
                  <a:gd name="connsiteY32" fmla="*/ 349428 h 364016"/>
                  <a:gd name="connsiteX33" fmla="*/ 46560 w 375038"/>
                  <a:gd name="connsiteY33" fmla="*/ 361939 h 364016"/>
                  <a:gd name="connsiteX34" fmla="*/ 42650 w 375038"/>
                  <a:gd name="connsiteY34" fmla="*/ 364016 h 364016"/>
                  <a:gd name="connsiteX35" fmla="*/ 17049 w 375038"/>
                  <a:gd name="connsiteY35" fmla="*/ 364016 h 364016"/>
                  <a:gd name="connsiteX36" fmla="*/ 13688 w 375038"/>
                  <a:gd name="connsiteY36" fmla="*/ 362672 h 364016"/>
                  <a:gd name="connsiteX37" fmla="*/ 1468 w 375038"/>
                  <a:gd name="connsiteY37" fmla="*/ 351188 h 364016"/>
                  <a:gd name="connsiteX38" fmla="*/ 2 w 375038"/>
                  <a:gd name="connsiteY38" fmla="*/ 347706 h 364016"/>
                  <a:gd name="connsiteX39" fmla="*/ 2 w 375038"/>
                  <a:gd name="connsiteY39" fmla="*/ 258397 h 364016"/>
                  <a:gd name="connsiteX40" fmla="*/ 4696 w 375038"/>
                  <a:gd name="connsiteY40" fmla="*/ 253565 h 364016"/>
                  <a:gd name="connsiteX41" fmla="*/ 5073 w 375038"/>
                  <a:gd name="connsiteY41" fmla="*/ 253571 h 364016"/>
                  <a:gd name="connsiteX42" fmla="*/ 31285 w 375038"/>
                  <a:gd name="connsiteY42" fmla="*/ 254915 h 364016"/>
                  <a:gd name="connsiteX43" fmla="*/ 116399 w 375038"/>
                  <a:gd name="connsiteY43" fmla="*/ 47220 h 364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375038" h="364016">
                    <a:moveTo>
                      <a:pt x="114077" y="201037"/>
                    </a:moveTo>
                    <a:lnTo>
                      <a:pt x="114077" y="226387"/>
                    </a:lnTo>
                    <a:cubicBezTo>
                      <a:pt x="114132" y="229087"/>
                      <a:pt x="116362" y="231232"/>
                      <a:pt x="119063" y="231176"/>
                    </a:cubicBezTo>
                    <a:cubicBezTo>
                      <a:pt x="120602" y="231146"/>
                      <a:pt x="122038" y="230389"/>
                      <a:pt x="122937" y="229136"/>
                    </a:cubicBezTo>
                    <a:cubicBezTo>
                      <a:pt x="137876" y="207090"/>
                      <a:pt x="162780" y="193883"/>
                      <a:pt x="189414" y="193890"/>
                    </a:cubicBezTo>
                    <a:lnTo>
                      <a:pt x="283632" y="193890"/>
                    </a:lnTo>
                    <a:lnTo>
                      <a:pt x="282043" y="47892"/>
                    </a:lnTo>
                    <a:cubicBezTo>
                      <a:pt x="281878" y="33506"/>
                      <a:pt x="270159" y="21930"/>
                      <a:pt x="255770" y="21930"/>
                    </a:cubicBezTo>
                    <a:lnTo>
                      <a:pt x="183549" y="21930"/>
                    </a:lnTo>
                    <a:cubicBezTo>
                      <a:pt x="163770" y="21869"/>
                      <a:pt x="146002" y="34019"/>
                      <a:pt x="138884" y="52474"/>
                    </a:cubicBezTo>
                    <a:lnTo>
                      <a:pt x="90003" y="181245"/>
                    </a:lnTo>
                    <a:lnTo>
                      <a:pt x="94647" y="181245"/>
                    </a:lnTo>
                    <a:cubicBezTo>
                      <a:pt x="105413" y="181245"/>
                      <a:pt x="114138" y="189968"/>
                      <a:pt x="114138" y="200731"/>
                    </a:cubicBezTo>
                    <a:moveTo>
                      <a:pt x="116704" y="46670"/>
                    </a:moveTo>
                    <a:cubicBezTo>
                      <a:pt x="127458" y="18571"/>
                      <a:pt x="154434" y="12"/>
                      <a:pt x="184526" y="0"/>
                    </a:cubicBezTo>
                    <a:lnTo>
                      <a:pt x="249110" y="0"/>
                    </a:lnTo>
                    <a:cubicBezTo>
                      <a:pt x="277424" y="0"/>
                      <a:pt x="300373" y="22944"/>
                      <a:pt x="300373" y="51252"/>
                    </a:cubicBezTo>
                    <a:lnTo>
                      <a:pt x="300373" y="219057"/>
                    </a:lnTo>
                    <a:cubicBezTo>
                      <a:pt x="300373" y="221720"/>
                      <a:pt x="302536" y="223883"/>
                      <a:pt x="305200" y="223883"/>
                    </a:cubicBezTo>
                    <a:lnTo>
                      <a:pt x="311310" y="223883"/>
                    </a:lnTo>
                    <a:cubicBezTo>
                      <a:pt x="333728" y="223858"/>
                      <a:pt x="352456" y="240957"/>
                      <a:pt x="354448" y="263284"/>
                    </a:cubicBezTo>
                    <a:cubicBezTo>
                      <a:pt x="354570" y="265355"/>
                      <a:pt x="356079" y="267090"/>
                      <a:pt x="358114" y="267499"/>
                    </a:cubicBezTo>
                    <a:cubicBezTo>
                      <a:pt x="367908" y="269167"/>
                      <a:pt x="375063" y="277664"/>
                      <a:pt x="375039" y="287596"/>
                    </a:cubicBezTo>
                    <a:lnTo>
                      <a:pt x="375039" y="359190"/>
                    </a:lnTo>
                    <a:cubicBezTo>
                      <a:pt x="375039" y="361853"/>
                      <a:pt x="372876" y="364016"/>
                      <a:pt x="370212" y="364016"/>
                    </a:cubicBezTo>
                    <a:lnTo>
                      <a:pt x="353287" y="364016"/>
                    </a:lnTo>
                    <a:cubicBezTo>
                      <a:pt x="351723" y="364010"/>
                      <a:pt x="350262" y="363234"/>
                      <a:pt x="349376" y="361939"/>
                    </a:cubicBezTo>
                    <a:cubicBezTo>
                      <a:pt x="331639" y="337296"/>
                      <a:pt x="297269" y="331695"/>
                      <a:pt x="272621" y="349428"/>
                    </a:cubicBezTo>
                    <a:cubicBezTo>
                      <a:pt x="267801" y="352898"/>
                      <a:pt x="263578" y="357119"/>
                      <a:pt x="260108" y="361939"/>
                    </a:cubicBezTo>
                    <a:cubicBezTo>
                      <a:pt x="259222" y="363234"/>
                      <a:pt x="257762" y="364010"/>
                      <a:pt x="256197" y="364016"/>
                    </a:cubicBezTo>
                    <a:lnTo>
                      <a:pt x="139739" y="364016"/>
                    </a:lnTo>
                    <a:cubicBezTo>
                      <a:pt x="138169" y="364016"/>
                      <a:pt x="136703" y="363240"/>
                      <a:pt x="135829" y="361939"/>
                    </a:cubicBezTo>
                    <a:cubicBezTo>
                      <a:pt x="118091" y="337296"/>
                      <a:pt x="83722" y="331695"/>
                      <a:pt x="59073" y="349428"/>
                    </a:cubicBezTo>
                    <a:cubicBezTo>
                      <a:pt x="54254" y="352898"/>
                      <a:pt x="50029" y="357119"/>
                      <a:pt x="46560" y="361939"/>
                    </a:cubicBezTo>
                    <a:cubicBezTo>
                      <a:pt x="45663" y="363216"/>
                      <a:pt x="44211" y="363985"/>
                      <a:pt x="42650" y="364016"/>
                    </a:cubicBezTo>
                    <a:lnTo>
                      <a:pt x="17049" y="364016"/>
                    </a:lnTo>
                    <a:cubicBezTo>
                      <a:pt x="15796" y="364028"/>
                      <a:pt x="14588" y="363545"/>
                      <a:pt x="13688" y="362672"/>
                    </a:cubicBezTo>
                    <a:lnTo>
                      <a:pt x="1468" y="351188"/>
                    </a:lnTo>
                    <a:cubicBezTo>
                      <a:pt x="501" y="350290"/>
                      <a:pt x="-33" y="349025"/>
                      <a:pt x="2" y="347706"/>
                    </a:cubicBezTo>
                    <a:lnTo>
                      <a:pt x="2" y="258397"/>
                    </a:lnTo>
                    <a:cubicBezTo>
                      <a:pt x="-38" y="255764"/>
                      <a:pt x="2064" y="253602"/>
                      <a:pt x="4696" y="253565"/>
                    </a:cubicBezTo>
                    <a:cubicBezTo>
                      <a:pt x="4822" y="253559"/>
                      <a:pt x="4948" y="253565"/>
                      <a:pt x="5073" y="253571"/>
                    </a:cubicBezTo>
                    <a:lnTo>
                      <a:pt x="31285" y="254915"/>
                    </a:lnTo>
                    <a:cubicBezTo>
                      <a:pt x="33851" y="254915"/>
                      <a:pt x="116399" y="47220"/>
                      <a:pt x="116399" y="47220"/>
                    </a:cubicBezTo>
                  </a:path>
                </a:pathLst>
              </a:custGeom>
              <a:solidFill>
                <a:srgbClr val="00397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10" name="Freihandform 909">
                <a:extLst>
                  <a:ext uri="{FF2B5EF4-FFF2-40B4-BE49-F238E27FC236}">
                    <a16:creationId xmlns:a16="http://schemas.microsoft.com/office/drawing/2014/main" id="{DF2F32D1-B2F6-3540-8D26-3167AA8FC7EC}"/>
                  </a:ext>
                </a:extLst>
              </p:cNvPr>
              <p:cNvSpPr/>
              <p:nvPr/>
            </p:nvSpPr>
            <p:spPr>
              <a:xfrm>
                <a:off x="-3386681" y="4434836"/>
                <a:ext cx="91040" cy="91019"/>
              </a:xfrm>
              <a:custGeom>
                <a:avLst/>
                <a:gdLst>
                  <a:gd name="connsiteX0" fmla="*/ 45520 w 91040"/>
                  <a:gd name="connsiteY0" fmla="*/ 0 h 91019"/>
                  <a:gd name="connsiteX1" fmla="*/ 91040 w 91040"/>
                  <a:gd name="connsiteY1" fmla="*/ 45510 h 91019"/>
                  <a:gd name="connsiteX2" fmla="*/ 45520 w 91040"/>
                  <a:gd name="connsiteY2" fmla="*/ 91019 h 91019"/>
                  <a:gd name="connsiteX3" fmla="*/ 0 w 91040"/>
                  <a:gd name="connsiteY3" fmla="*/ 45510 h 91019"/>
                  <a:gd name="connsiteX4" fmla="*/ 45520 w 91040"/>
                  <a:gd name="connsiteY4" fmla="*/ 0 h 91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1040" h="91019">
                    <a:moveTo>
                      <a:pt x="45520" y="0"/>
                    </a:moveTo>
                    <a:cubicBezTo>
                      <a:pt x="70663" y="0"/>
                      <a:pt x="91040" y="20373"/>
                      <a:pt x="91040" y="45510"/>
                    </a:cubicBezTo>
                    <a:cubicBezTo>
                      <a:pt x="91040" y="70641"/>
                      <a:pt x="70663" y="91019"/>
                      <a:pt x="45520" y="91019"/>
                    </a:cubicBezTo>
                    <a:cubicBezTo>
                      <a:pt x="20380" y="91019"/>
                      <a:pt x="0" y="70647"/>
                      <a:pt x="0" y="45510"/>
                    </a:cubicBezTo>
                    <a:cubicBezTo>
                      <a:pt x="34" y="20391"/>
                      <a:pt x="20394" y="31"/>
                      <a:pt x="45520" y="0"/>
                    </a:cubicBezTo>
                  </a:path>
                </a:pathLst>
              </a:custGeom>
              <a:solidFill>
                <a:srgbClr val="00397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11" name="Freihandform 910">
                <a:extLst>
                  <a:ext uri="{FF2B5EF4-FFF2-40B4-BE49-F238E27FC236}">
                    <a16:creationId xmlns:a16="http://schemas.microsoft.com/office/drawing/2014/main" id="{FA3CBE6A-6DC4-2043-AEDD-6F0797EB582D}"/>
                  </a:ext>
                </a:extLst>
              </p:cNvPr>
              <p:cNvSpPr/>
              <p:nvPr/>
            </p:nvSpPr>
            <p:spPr>
              <a:xfrm>
                <a:off x="-3172950" y="4434836"/>
                <a:ext cx="91040" cy="91019"/>
              </a:xfrm>
              <a:custGeom>
                <a:avLst/>
                <a:gdLst>
                  <a:gd name="connsiteX0" fmla="*/ 45520 w 91040"/>
                  <a:gd name="connsiteY0" fmla="*/ 0 h 91019"/>
                  <a:gd name="connsiteX1" fmla="*/ 91040 w 91040"/>
                  <a:gd name="connsiteY1" fmla="*/ 45510 h 91019"/>
                  <a:gd name="connsiteX2" fmla="*/ 45520 w 91040"/>
                  <a:gd name="connsiteY2" fmla="*/ 91019 h 91019"/>
                  <a:gd name="connsiteX3" fmla="*/ 0 w 91040"/>
                  <a:gd name="connsiteY3" fmla="*/ 45510 h 91019"/>
                  <a:gd name="connsiteX4" fmla="*/ 45520 w 91040"/>
                  <a:gd name="connsiteY4" fmla="*/ 0 h 91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1040" h="91019">
                    <a:moveTo>
                      <a:pt x="45520" y="0"/>
                    </a:moveTo>
                    <a:cubicBezTo>
                      <a:pt x="70663" y="0"/>
                      <a:pt x="91040" y="20373"/>
                      <a:pt x="91040" y="45510"/>
                    </a:cubicBezTo>
                    <a:cubicBezTo>
                      <a:pt x="91040" y="70641"/>
                      <a:pt x="70663" y="91019"/>
                      <a:pt x="45520" y="91019"/>
                    </a:cubicBezTo>
                    <a:cubicBezTo>
                      <a:pt x="20377" y="91019"/>
                      <a:pt x="0" y="70647"/>
                      <a:pt x="0" y="45510"/>
                    </a:cubicBezTo>
                    <a:cubicBezTo>
                      <a:pt x="37" y="20391"/>
                      <a:pt x="20395" y="31"/>
                      <a:pt x="45520" y="0"/>
                    </a:cubicBezTo>
                  </a:path>
                </a:pathLst>
              </a:custGeom>
              <a:solidFill>
                <a:srgbClr val="00397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908" name="Freihandform 907">
              <a:extLst>
                <a:ext uri="{FF2B5EF4-FFF2-40B4-BE49-F238E27FC236}">
                  <a16:creationId xmlns:a16="http://schemas.microsoft.com/office/drawing/2014/main" id="{43A6DB9A-0648-5840-9266-CB199782F602}"/>
                </a:ext>
              </a:extLst>
            </p:cNvPr>
            <p:cNvSpPr/>
            <p:nvPr/>
          </p:nvSpPr>
          <p:spPr>
            <a:xfrm>
              <a:off x="10326885" y="4284318"/>
              <a:ext cx="543516" cy="255720"/>
            </a:xfrm>
            <a:custGeom>
              <a:avLst/>
              <a:gdLst>
                <a:gd name="connsiteX0" fmla="*/ 0 w 207865"/>
                <a:gd name="connsiteY0" fmla="*/ 0 h 97799"/>
                <a:gd name="connsiteX1" fmla="*/ 207865 w 207865"/>
                <a:gd name="connsiteY1" fmla="*/ 0 h 97799"/>
                <a:gd name="connsiteX2" fmla="*/ 207865 w 207865"/>
                <a:gd name="connsiteY2" fmla="*/ 97800 h 97799"/>
                <a:gd name="connsiteX3" fmla="*/ 0 w 207865"/>
                <a:gd name="connsiteY3" fmla="*/ 97800 h 97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865" h="97799">
                  <a:moveTo>
                    <a:pt x="0" y="0"/>
                  </a:moveTo>
                  <a:lnTo>
                    <a:pt x="207865" y="0"/>
                  </a:lnTo>
                  <a:lnTo>
                    <a:pt x="207865" y="97800"/>
                  </a:lnTo>
                  <a:lnTo>
                    <a:pt x="0" y="97800"/>
                  </a:lnTo>
                  <a:close/>
                </a:path>
              </a:pathLst>
            </a:custGeom>
            <a:solidFill>
              <a:srgbClr val="F1D100"/>
            </a:solidFill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916" name="Gruppieren 915">
            <a:extLst>
              <a:ext uri="{FF2B5EF4-FFF2-40B4-BE49-F238E27FC236}">
                <a16:creationId xmlns:a16="http://schemas.microsoft.com/office/drawing/2014/main" id="{F56EC1F9-D7A3-F44F-9B48-6DA6C102ABBA}"/>
              </a:ext>
            </a:extLst>
          </p:cNvPr>
          <p:cNvGrpSpPr/>
          <p:nvPr/>
        </p:nvGrpSpPr>
        <p:grpSpPr>
          <a:xfrm>
            <a:off x="6255966" y="202746"/>
            <a:ext cx="1700410" cy="229078"/>
            <a:chOff x="10342861" y="1632537"/>
            <a:chExt cx="2900034" cy="390691"/>
          </a:xfrm>
        </p:grpSpPr>
        <p:sp>
          <p:nvSpPr>
            <p:cNvPr id="917" name="Freihandform 916">
              <a:extLst>
                <a:ext uri="{FF2B5EF4-FFF2-40B4-BE49-F238E27FC236}">
                  <a16:creationId xmlns:a16="http://schemas.microsoft.com/office/drawing/2014/main" id="{F1671960-2464-ED4F-9FF5-A56F91F4874F}"/>
                </a:ext>
              </a:extLst>
            </p:cNvPr>
            <p:cNvSpPr/>
            <p:nvPr/>
          </p:nvSpPr>
          <p:spPr>
            <a:xfrm>
              <a:off x="12852431" y="1632853"/>
              <a:ext cx="390464" cy="390375"/>
            </a:xfrm>
            <a:custGeom>
              <a:avLst/>
              <a:gdLst>
                <a:gd name="connsiteX0" fmla="*/ 74360 w 149331"/>
                <a:gd name="connsiteY0" fmla="*/ 1 h 149297"/>
                <a:gd name="connsiteX1" fmla="*/ 149331 w 149331"/>
                <a:gd name="connsiteY1" fmla="*/ 74343 h 149297"/>
                <a:gd name="connsiteX2" fmla="*/ 74971 w 149331"/>
                <a:gd name="connsiteY2" fmla="*/ 149297 h 149297"/>
                <a:gd name="connsiteX3" fmla="*/ 0 w 149331"/>
                <a:gd name="connsiteY3" fmla="*/ 74954 h 149297"/>
                <a:gd name="connsiteX4" fmla="*/ 0 w 149331"/>
                <a:gd name="connsiteY4" fmla="*/ 74649 h 149297"/>
                <a:gd name="connsiteX5" fmla="*/ 74665 w 149331"/>
                <a:gd name="connsiteY5" fmla="*/ 1 h 149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9331" h="149297">
                  <a:moveTo>
                    <a:pt x="74360" y="1"/>
                  </a:moveTo>
                  <a:cubicBezTo>
                    <a:pt x="115597" y="-170"/>
                    <a:pt x="149159" y="33116"/>
                    <a:pt x="149331" y="74343"/>
                  </a:cubicBezTo>
                  <a:cubicBezTo>
                    <a:pt x="149502" y="115571"/>
                    <a:pt x="116208" y="149126"/>
                    <a:pt x="74971" y="149297"/>
                  </a:cubicBezTo>
                  <a:cubicBezTo>
                    <a:pt x="33734" y="149462"/>
                    <a:pt x="171" y="116182"/>
                    <a:pt x="0" y="74954"/>
                  </a:cubicBezTo>
                  <a:cubicBezTo>
                    <a:pt x="0" y="74851"/>
                    <a:pt x="0" y="74752"/>
                    <a:pt x="0" y="74649"/>
                  </a:cubicBezTo>
                  <a:cubicBezTo>
                    <a:pt x="0" y="33421"/>
                    <a:pt x="33428" y="1"/>
                    <a:pt x="74665" y="1"/>
                  </a:cubicBezTo>
                </a:path>
              </a:pathLst>
            </a:custGeom>
            <a:solidFill>
              <a:srgbClr val="003971"/>
            </a:solidFill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18" name="Freihandform 917">
              <a:extLst>
                <a:ext uri="{FF2B5EF4-FFF2-40B4-BE49-F238E27FC236}">
                  <a16:creationId xmlns:a16="http://schemas.microsoft.com/office/drawing/2014/main" id="{64B4433F-3DDD-594A-9D53-28BD01A7A8FF}"/>
                </a:ext>
              </a:extLst>
            </p:cNvPr>
            <p:cNvSpPr/>
            <p:nvPr/>
          </p:nvSpPr>
          <p:spPr>
            <a:xfrm>
              <a:off x="10342861" y="1632537"/>
              <a:ext cx="671239" cy="386850"/>
            </a:xfrm>
            <a:custGeom>
              <a:avLst/>
              <a:gdLst>
                <a:gd name="connsiteX0" fmla="*/ 33911 w 256712"/>
                <a:gd name="connsiteY0" fmla="*/ 80818 h 147949"/>
                <a:gd name="connsiteX1" fmla="*/ 97089 w 256712"/>
                <a:gd name="connsiteY1" fmla="*/ 68600 h 147949"/>
                <a:gd name="connsiteX2" fmla="*/ 99228 w 256712"/>
                <a:gd name="connsiteY2" fmla="*/ 59254 h 147949"/>
                <a:gd name="connsiteX3" fmla="*/ 27984 w 256712"/>
                <a:gd name="connsiteY3" fmla="*/ 72388 h 147949"/>
                <a:gd name="connsiteX4" fmla="*/ 16803 w 256712"/>
                <a:gd name="connsiteY4" fmla="*/ 56811 h 147949"/>
                <a:gd name="connsiteX5" fmla="*/ 103933 w 256712"/>
                <a:gd name="connsiteY5" fmla="*/ 39828 h 147949"/>
                <a:gd name="connsiteX6" fmla="*/ 105827 w 256712"/>
                <a:gd name="connsiteY6" fmla="*/ 30482 h 147949"/>
                <a:gd name="connsiteX7" fmla="*/ 10754 w 256712"/>
                <a:gd name="connsiteY7" fmla="*/ 48136 h 147949"/>
                <a:gd name="connsiteX8" fmla="*/ 0 w 256712"/>
                <a:gd name="connsiteY8" fmla="*/ 32376 h 147949"/>
                <a:gd name="connsiteX9" fmla="*/ 110470 w 256712"/>
                <a:gd name="connsiteY9" fmla="*/ 10873 h 147949"/>
                <a:gd name="connsiteX10" fmla="*/ 112914 w 256712"/>
                <a:gd name="connsiteY10" fmla="*/ 0 h 147949"/>
                <a:gd name="connsiteX11" fmla="*/ 170105 w 256712"/>
                <a:gd name="connsiteY11" fmla="*/ 0 h 147949"/>
                <a:gd name="connsiteX12" fmla="*/ 169127 w 256712"/>
                <a:gd name="connsiteY12" fmla="*/ 6109 h 147949"/>
                <a:gd name="connsiteX13" fmla="*/ 229495 w 256712"/>
                <a:gd name="connsiteY13" fmla="*/ 71838 h 147949"/>
                <a:gd name="connsiteX14" fmla="*/ 139004 w 256712"/>
                <a:gd name="connsiteY14" fmla="*/ 135673 h 147949"/>
                <a:gd name="connsiteX15" fmla="*/ 136805 w 256712"/>
                <a:gd name="connsiteY15" fmla="*/ 144470 h 147949"/>
                <a:gd name="connsiteX16" fmla="*/ 79614 w 256712"/>
                <a:gd name="connsiteY16" fmla="*/ 144470 h 147949"/>
                <a:gd name="connsiteX17" fmla="*/ 92446 w 256712"/>
                <a:gd name="connsiteY17" fmla="*/ 88087 h 147949"/>
                <a:gd name="connsiteX18" fmla="*/ 45276 w 256712"/>
                <a:gd name="connsiteY18" fmla="*/ 96945 h 147949"/>
                <a:gd name="connsiteX19" fmla="*/ 156113 w 256712"/>
                <a:gd name="connsiteY19" fmla="*/ 61087 h 147949"/>
                <a:gd name="connsiteX20" fmla="*/ 164361 w 256712"/>
                <a:gd name="connsiteY20" fmla="*/ 25107 h 147949"/>
                <a:gd name="connsiteX21" fmla="*/ 142854 w 256712"/>
                <a:gd name="connsiteY21" fmla="*/ 116431 h 147949"/>
                <a:gd name="connsiteX22" fmla="*/ 187152 w 256712"/>
                <a:gd name="connsiteY22" fmla="*/ 105863 h 147949"/>
                <a:gd name="connsiteX23" fmla="*/ 151164 w 256712"/>
                <a:gd name="connsiteY23" fmla="*/ 81429 h 147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56712" h="147949">
                  <a:moveTo>
                    <a:pt x="33911" y="80818"/>
                  </a:moveTo>
                  <a:cubicBezTo>
                    <a:pt x="54614" y="75082"/>
                    <a:pt x="75739" y="70995"/>
                    <a:pt x="97089" y="68600"/>
                  </a:cubicBezTo>
                  <a:lnTo>
                    <a:pt x="99228" y="59254"/>
                  </a:lnTo>
                  <a:cubicBezTo>
                    <a:pt x="75142" y="61551"/>
                    <a:pt x="51304" y="65943"/>
                    <a:pt x="27984" y="72388"/>
                  </a:cubicBezTo>
                  <a:lnTo>
                    <a:pt x="16803" y="56811"/>
                  </a:lnTo>
                  <a:cubicBezTo>
                    <a:pt x="45116" y="47898"/>
                    <a:pt x="74344" y="42198"/>
                    <a:pt x="103933" y="39828"/>
                  </a:cubicBezTo>
                  <a:lnTo>
                    <a:pt x="105827" y="30482"/>
                  </a:lnTo>
                  <a:cubicBezTo>
                    <a:pt x="73544" y="32547"/>
                    <a:pt x="41626" y="38472"/>
                    <a:pt x="10754" y="48136"/>
                  </a:cubicBezTo>
                  <a:lnTo>
                    <a:pt x="0" y="32376"/>
                  </a:lnTo>
                  <a:cubicBezTo>
                    <a:pt x="34216" y="17593"/>
                    <a:pt x="91651" y="11484"/>
                    <a:pt x="110470" y="10873"/>
                  </a:cubicBezTo>
                  <a:lnTo>
                    <a:pt x="112914" y="0"/>
                  </a:lnTo>
                  <a:lnTo>
                    <a:pt x="170105" y="0"/>
                  </a:lnTo>
                  <a:lnTo>
                    <a:pt x="169127" y="6109"/>
                  </a:lnTo>
                  <a:cubicBezTo>
                    <a:pt x="258151" y="-12217"/>
                    <a:pt x="281247" y="51557"/>
                    <a:pt x="229495" y="71838"/>
                  </a:cubicBezTo>
                  <a:cubicBezTo>
                    <a:pt x="291512" y="118753"/>
                    <a:pt x="201022" y="172631"/>
                    <a:pt x="139004" y="135673"/>
                  </a:cubicBezTo>
                  <a:lnTo>
                    <a:pt x="136805" y="144470"/>
                  </a:lnTo>
                  <a:lnTo>
                    <a:pt x="79614" y="144470"/>
                  </a:lnTo>
                  <a:lnTo>
                    <a:pt x="92446" y="88087"/>
                  </a:lnTo>
                  <a:cubicBezTo>
                    <a:pt x="76565" y="90127"/>
                    <a:pt x="60815" y="93084"/>
                    <a:pt x="45276" y="96945"/>
                  </a:cubicBezTo>
                  <a:close/>
                  <a:moveTo>
                    <a:pt x="156113" y="61087"/>
                  </a:moveTo>
                  <a:cubicBezTo>
                    <a:pt x="210309" y="59254"/>
                    <a:pt x="204016" y="20281"/>
                    <a:pt x="164361" y="25107"/>
                  </a:cubicBezTo>
                  <a:close/>
                  <a:moveTo>
                    <a:pt x="142854" y="116431"/>
                  </a:moveTo>
                  <a:cubicBezTo>
                    <a:pt x="163995" y="126999"/>
                    <a:pt x="184280" y="117103"/>
                    <a:pt x="187152" y="105863"/>
                  </a:cubicBezTo>
                  <a:cubicBezTo>
                    <a:pt x="190024" y="94623"/>
                    <a:pt x="175359" y="78069"/>
                    <a:pt x="151164" y="81429"/>
                  </a:cubicBezTo>
                  <a:close/>
                </a:path>
              </a:pathLst>
            </a:custGeom>
            <a:solidFill>
              <a:srgbClr val="003971"/>
            </a:solidFill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19" name="Freihandform 918">
              <a:extLst>
                <a:ext uri="{FF2B5EF4-FFF2-40B4-BE49-F238E27FC236}">
                  <a16:creationId xmlns:a16="http://schemas.microsoft.com/office/drawing/2014/main" id="{0302322D-10DB-1E4F-9984-E4B6F33C59F5}"/>
                </a:ext>
              </a:extLst>
            </p:cNvPr>
            <p:cNvSpPr/>
            <p:nvPr/>
          </p:nvSpPr>
          <p:spPr>
            <a:xfrm>
              <a:off x="12868089" y="1737637"/>
              <a:ext cx="323563" cy="186848"/>
            </a:xfrm>
            <a:custGeom>
              <a:avLst/>
              <a:gdLst>
                <a:gd name="connsiteX0" fmla="*/ 16253 w 123745"/>
                <a:gd name="connsiteY0" fmla="*/ 39462 h 71459"/>
                <a:gd name="connsiteX1" fmla="*/ 46803 w 123745"/>
                <a:gd name="connsiteY1" fmla="*/ 33353 h 71459"/>
                <a:gd name="connsiteX2" fmla="*/ 47842 w 123745"/>
                <a:gd name="connsiteY2" fmla="*/ 28833 h 71459"/>
                <a:gd name="connsiteX3" fmla="*/ 13503 w 123745"/>
                <a:gd name="connsiteY3" fmla="*/ 34941 h 71459"/>
                <a:gd name="connsiteX4" fmla="*/ 8065 w 123745"/>
                <a:gd name="connsiteY4" fmla="*/ 27306 h 71459"/>
                <a:gd name="connsiteX5" fmla="*/ 50103 w 123745"/>
                <a:gd name="connsiteY5" fmla="*/ 19120 h 71459"/>
                <a:gd name="connsiteX6" fmla="*/ 51019 w 123745"/>
                <a:gd name="connsiteY6" fmla="*/ 14599 h 71459"/>
                <a:gd name="connsiteX7" fmla="*/ 5194 w 123745"/>
                <a:gd name="connsiteY7" fmla="*/ 23152 h 71459"/>
                <a:gd name="connsiteX8" fmla="*/ 0 w 123745"/>
                <a:gd name="connsiteY8" fmla="*/ 15638 h 71459"/>
                <a:gd name="connsiteX9" fmla="*/ 53280 w 123745"/>
                <a:gd name="connsiteY9" fmla="*/ 5253 h 71459"/>
                <a:gd name="connsiteX10" fmla="*/ 54441 w 123745"/>
                <a:gd name="connsiteY10" fmla="*/ 0 h 71459"/>
                <a:gd name="connsiteX11" fmla="*/ 82059 w 123745"/>
                <a:gd name="connsiteY11" fmla="*/ 0 h 71459"/>
                <a:gd name="connsiteX12" fmla="*/ 81509 w 123745"/>
                <a:gd name="connsiteY12" fmla="*/ 3054 h 71459"/>
                <a:gd name="connsiteX13" fmla="*/ 110654 w 123745"/>
                <a:gd name="connsiteY13" fmla="*/ 34758 h 71459"/>
                <a:gd name="connsiteX14" fmla="*/ 67028 w 123745"/>
                <a:gd name="connsiteY14" fmla="*/ 65301 h 71459"/>
                <a:gd name="connsiteX15" fmla="*/ 65989 w 123745"/>
                <a:gd name="connsiteY15" fmla="*/ 69516 h 71459"/>
                <a:gd name="connsiteX16" fmla="*/ 38371 w 123745"/>
                <a:gd name="connsiteY16" fmla="*/ 69516 h 71459"/>
                <a:gd name="connsiteX17" fmla="*/ 44481 w 123745"/>
                <a:gd name="connsiteY17" fmla="*/ 42333 h 71459"/>
                <a:gd name="connsiteX18" fmla="*/ 21752 w 123745"/>
                <a:gd name="connsiteY18" fmla="*/ 46609 h 71459"/>
                <a:gd name="connsiteX19" fmla="*/ 75154 w 123745"/>
                <a:gd name="connsiteY19" fmla="*/ 29932 h 71459"/>
                <a:gd name="connsiteX20" fmla="*/ 79065 w 123745"/>
                <a:gd name="connsiteY20" fmla="*/ 12584 h 71459"/>
                <a:gd name="connsiteX21" fmla="*/ 68616 w 123745"/>
                <a:gd name="connsiteY21" fmla="*/ 57665 h 71459"/>
                <a:gd name="connsiteX22" fmla="*/ 72893 w 123745"/>
                <a:gd name="connsiteY22" fmla="*/ 39339 h 71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3745" h="71459">
                  <a:moveTo>
                    <a:pt x="16253" y="39462"/>
                  </a:moveTo>
                  <a:cubicBezTo>
                    <a:pt x="26255" y="36609"/>
                    <a:pt x="36471" y="34563"/>
                    <a:pt x="46803" y="33353"/>
                  </a:cubicBezTo>
                  <a:lnTo>
                    <a:pt x="47842" y="28833"/>
                  </a:lnTo>
                  <a:cubicBezTo>
                    <a:pt x="36239" y="29865"/>
                    <a:pt x="24752" y="31912"/>
                    <a:pt x="13503" y="34941"/>
                  </a:cubicBezTo>
                  <a:lnTo>
                    <a:pt x="8065" y="27306"/>
                  </a:lnTo>
                  <a:cubicBezTo>
                    <a:pt x="21721" y="22993"/>
                    <a:pt x="35823" y="20244"/>
                    <a:pt x="50103" y="19120"/>
                  </a:cubicBezTo>
                  <a:lnTo>
                    <a:pt x="51019" y="14599"/>
                  </a:lnTo>
                  <a:cubicBezTo>
                    <a:pt x="35457" y="15601"/>
                    <a:pt x="20072" y="18473"/>
                    <a:pt x="5194" y="23152"/>
                  </a:cubicBezTo>
                  <a:lnTo>
                    <a:pt x="0" y="15638"/>
                  </a:lnTo>
                  <a:cubicBezTo>
                    <a:pt x="17145" y="9548"/>
                    <a:pt x="35103" y="6048"/>
                    <a:pt x="53280" y="5253"/>
                  </a:cubicBezTo>
                  <a:lnTo>
                    <a:pt x="54441" y="0"/>
                  </a:lnTo>
                  <a:lnTo>
                    <a:pt x="82059" y="0"/>
                  </a:lnTo>
                  <a:lnTo>
                    <a:pt x="81509" y="3054"/>
                  </a:lnTo>
                  <a:cubicBezTo>
                    <a:pt x="124279" y="-5864"/>
                    <a:pt x="135644" y="24984"/>
                    <a:pt x="110654" y="34758"/>
                  </a:cubicBezTo>
                  <a:cubicBezTo>
                    <a:pt x="140593" y="57360"/>
                    <a:pt x="96967" y="83627"/>
                    <a:pt x="67028" y="65301"/>
                  </a:cubicBezTo>
                  <a:lnTo>
                    <a:pt x="65989" y="69516"/>
                  </a:lnTo>
                  <a:lnTo>
                    <a:pt x="38371" y="69516"/>
                  </a:lnTo>
                  <a:lnTo>
                    <a:pt x="44481" y="42333"/>
                  </a:lnTo>
                  <a:cubicBezTo>
                    <a:pt x="36826" y="43304"/>
                    <a:pt x="29237" y="44734"/>
                    <a:pt x="21752" y="46609"/>
                  </a:cubicBezTo>
                  <a:close/>
                  <a:moveTo>
                    <a:pt x="75154" y="29932"/>
                  </a:moveTo>
                  <a:cubicBezTo>
                    <a:pt x="101244" y="29016"/>
                    <a:pt x="98189" y="10263"/>
                    <a:pt x="79065" y="12584"/>
                  </a:cubicBezTo>
                  <a:close/>
                  <a:moveTo>
                    <a:pt x="68616" y="57665"/>
                  </a:moveTo>
                  <a:cubicBezTo>
                    <a:pt x="93057" y="65851"/>
                    <a:pt x="100205" y="40134"/>
                    <a:pt x="72893" y="39339"/>
                  </a:cubicBezTo>
                  <a:close/>
                </a:path>
              </a:pathLst>
            </a:custGeom>
            <a:solidFill>
              <a:srgbClr val="F1D100"/>
            </a:solidFill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20" name="Freihandform 919">
              <a:extLst>
                <a:ext uri="{FF2B5EF4-FFF2-40B4-BE49-F238E27FC236}">
                  <a16:creationId xmlns:a16="http://schemas.microsoft.com/office/drawing/2014/main" id="{CFC1CD8E-862D-F54B-B21C-9E4A190C12D6}"/>
                </a:ext>
              </a:extLst>
            </p:cNvPr>
            <p:cNvSpPr/>
            <p:nvPr/>
          </p:nvSpPr>
          <p:spPr>
            <a:xfrm>
              <a:off x="11021630" y="1738599"/>
              <a:ext cx="1730627" cy="283852"/>
            </a:xfrm>
            <a:custGeom>
              <a:avLst/>
              <a:gdLst>
                <a:gd name="connsiteX0" fmla="*/ 661871 w 661870"/>
                <a:gd name="connsiteY0" fmla="*/ 13255 h 108558"/>
                <a:gd name="connsiteX1" fmla="*/ 585311 w 661870"/>
                <a:gd name="connsiteY1" fmla="*/ 13255 h 108558"/>
                <a:gd name="connsiteX2" fmla="*/ 508874 w 661870"/>
                <a:gd name="connsiteY2" fmla="*/ 13255 h 108558"/>
                <a:gd name="connsiteX3" fmla="*/ 511501 w 661870"/>
                <a:gd name="connsiteY3" fmla="*/ 3847 h 108558"/>
                <a:gd name="connsiteX4" fmla="*/ 454678 w 661870"/>
                <a:gd name="connsiteY4" fmla="*/ 3847 h 108558"/>
                <a:gd name="connsiteX5" fmla="*/ 442457 w 661870"/>
                <a:gd name="connsiteY5" fmla="*/ 57237 h 108558"/>
                <a:gd name="connsiteX6" fmla="*/ 423027 w 661870"/>
                <a:gd name="connsiteY6" fmla="*/ 73730 h 108558"/>
                <a:gd name="connsiteX7" fmla="*/ 419545 w 661870"/>
                <a:gd name="connsiteY7" fmla="*/ 72876 h 108558"/>
                <a:gd name="connsiteX8" fmla="*/ 435431 w 661870"/>
                <a:gd name="connsiteY8" fmla="*/ 4031 h 108558"/>
                <a:gd name="connsiteX9" fmla="*/ 377874 w 661870"/>
                <a:gd name="connsiteY9" fmla="*/ 4031 h 108558"/>
                <a:gd name="connsiteX10" fmla="*/ 365654 w 661870"/>
                <a:gd name="connsiteY10" fmla="*/ 57543 h 108558"/>
                <a:gd name="connsiteX11" fmla="*/ 346224 w 661870"/>
                <a:gd name="connsiteY11" fmla="*/ 74158 h 108558"/>
                <a:gd name="connsiteX12" fmla="*/ 342741 w 661870"/>
                <a:gd name="connsiteY12" fmla="*/ 73181 h 108558"/>
                <a:gd name="connsiteX13" fmla="*/ 358749 w 661870"/>
                <a:gd name="connsiteY13" fmla="*/ 4031 h 108558"/>
                <a:gd name="connsiteX14" fmla="*/ 302048 w 661870"/>
                <a:gd name="connsiteY14" fmla="*/ 4031 h 108558"/>
                <a:gd name="connsiteX15" fmla="*/ 289278 w 661870"/>
                <a:gd name="connsiteY15" fmla="*/ 57359 h 108558"/>
                <a:gd name="connsiteX16" fmla="*/ 269847 w 661870"/>
                <a:gd name="connsiteY16" fmla="*/ 73975 h 108558"/>
                <a:gd name="connsiteX17" fmla="*/ 266365 w 661870"/>
                <a:gd name="connsiteY17" fmla="*/ 72997 h 108558"/>
                <a:gd name="connsiteX18" fmla="*/ 277974 w 661870"/>
                <a:gd name="connsiteY18" fmla="*/ 22846 h 108558"/>
                <a:gd name="connsiteX19" fmla="*/ 245529 w 661870"/>
                <a:gd name="connsiteY19" fmla="*/ 22846 h 108558"/>
                <a:gd name="connsiteX20" fmla="*/ 225794 w 661870"/>
                <a:gd name="connsiteY20" fmla="*/ 7452 h 108558"/>
                <a:gd name="connsiteX21" fmla="*/ 224877 w 661870"/>
                <a:gd name="connsiteY21" fmla="*/ 3908 h 108558"/>
                <a:gd name="connsiteX22" fmla="*/ 186934 w 661870"/>
                <a:gd name="connsiteY22" fmla="*/ 4031 h 108558"/>
                <a:gd name="connsiteX23" fmla="*/ 174713 w 661870"/>
                <a:gd name="connsiteY23" fmla="*/ 57420 h 108558"/>
                <a:gd name="connsiteX24" fmla="*/ 155283 w 661870"/>
                <a:gd name="connsiteY24" fmla="*/ 72937 h 108558"/>
                <a:gd name="connsiteX25" fmla="*/ 151801 w 661870"/>
                <a:gd name="connsiteY25" fmla="*/ 72937 h 108558"/>
                <a:gd name="connsiteX26" fmla="*/ 167626 w 661870"/>
                <a:gd name="connsiteY26" fmla="*/ 4031 h 108558"/>
                <a:gd name="connsiteX27" fmla="*/ 110252 w 661870"/>
                <a:gd name="connsiteY27" fmla="*/ 4031 h 108558"/>
                <a:gd name="connsiteX28" fmla="*/ 108175 w 661870"/>
                <a:gd name="connsiteY28" fmla="*/ 12461 h 108558"/>
                <a:gd name="connsiteX29" fmla="*/ 1920 w 661870"/>
                <a:gd name="connsiteY29" fmla="*/ 52106 h 108558"/>
                <a:gd name="connsiteX30" fmla="*/ 88439 w 661870"/>
                <a:gd name="connsiteY30" fmla="*/ 91263 h 108558"/>
                <a:gd name="connsiteX31" fmla="*/ 190722 w 661870"/>
                <a:gd name="connsiteY31" fmla="*/ 74891 h 108558"/>
                <a:gd name="connsiteX32" fmla="*/ 192494 w 661870"/>
                <a:gd name="connsiteY32" fmla="*/ 65973 h 108558"/>
                <a:gd name="connsiteX33" fmla="*/ 210824 w 661870"/>
                <a:gd name="connsiteY33" fmla="*/ 50640 h 108558"/>
                <a:gd name="connsiteX34" fmla="*/ 214368 w 661870"/>
                <a:gd name="connsiteY34" fmla="*/ 50640 h 108558"/>
                <a:gd name="connsiteX35" fmla="*/ 204042 w 661870"/>
                <a:gd name="connsiteY35" fmla="*/ 94561 h 108558"/>
                <a:gd name="connsiteX36" fmla="*/ 280846 w 661870"/>
                <a:gd name="connsiteY36" fmla="*/ 94561 h 108558"/>
                <a:gd name="connsiteX37" fmla="*/ 357466 w 661870"/>
                <a:gd name="connsiteY37" fmla="*/ 94561 h 108558"/>
                <a:gd name="connsiteX38" fmla="*/ 433903 w 661870"/>
                <a:gd name="connsiteY38" fmla="*/ 94561 h 108558"/>
                <a:gd name="connsiteX39" fmla="*/ 431276 w 661870"/>
                <a:gd name="connsiteY39" fmla="*/ 103785 h 108558"/>
                <a:gd name="connsiteX40" fmla="*/ 487916 w 661870"/>
                <a:gd name="connsiteY40" fmla="*/ 103785 h 108558"/>
                <a:gd name="connsiteX41" fmla="*/ 500137 w 661870"/>
                <a:gd name="connsiteY41" fmla="*/ 50518 h 108558"/>
                <a:gd name="connsiteX42" fmla="*/ 518467 w 661870"/>
                <a:gd name="connsiteY42" fmla="*/ 33291 h 108558"/>
                <a:gd name="connsiteX43" fmla="*/ 523294 w 661870"/>
                <a:gd name="connsiteY43" fmla="*/ 34879 h 108558"/>
                <a:gd name="connsiteX44" fmla="*/ 507347 w 661870"/>
                <a:gd name="connsiteY44" fmla="*/ 103847 h 108558"/>
                <a:gd name="connsiteX45" fmla="*/ 564842 w 661870"/>
                <a:gd name="connsiteY45" fmla="*/ 103847 h 108558"/>
                <a:gd name="connsiteX46" fmla="*/ 577063 w 661870"/>
                <a:gd name="connsiteY46" fmla="*/ 50640 h 108558"/>
                <a:gd name="connsiteX47" fmla="*/ 595393 w 661870"/>
                <a:gd name="connsiteY47" fmla="*/ 33413 h 108558"/>
                <a:gd name="connsiteX48" fmla="*/ 600220 w 661870"/>
                <a:gd name="connsiteY48" fmla="*/ 35002 h 108558"/>
                <a:gd name="connsiteX49" fmla="*/ 584089 w 661870"/>
                <a:gd name="connsiteY49" fmla="*/ 104152 h 108558"/>
                <a:gd name="connsiteX50" fmla="*/ 640791 w 661870"/>
                <a:gd name="connsiteY50" fmla="*/ 104152 h 108558"/>
                <a:gd name="connsiteX51" fmla="*/ 61738 w 661870"/>
                <a:gd name="connsiteY51" fmla="*/ 40683 h 108558"/>
                <a:gd name="connsiteX52" fmla="*/ 95160 w 661870"/>
                <a:gd name="connsiteY52" fmla="*/ 27732 h 108558"/>
                <a:gd name="connsiteX53" fmla="*/ 99743 w 661870"/>
                <a:gd name="connsiteY53" fmla="*/ 56871 h 108558"/>
                <a:gd name="connsiteX54" fmla="*/ 65587 w 661870"/>
                <a:gd name="connsiteY54" fmla="*/ 70554 h 108558"/>
                <a:gd name="connsiteX55" fmla="*/ 61738 w 661870"/>
                <a:gd name="connsiteY55" fmla="*/ 40683 h 108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661870" h="108558">
                  <a:moveTo>
                    <a:pt x="661871" y="13255"/>
                  </a:moveTo>
                  <a:cubicBezTo>
                    <a:pt x="657166" y="-3239"/>
                    <a:pt x="615251" y="-5560"/>
                    <a:pt x="585311" y="13255"/>
                  </a:cubicBezTo>
                  <a:cubicBezTo>
                    <a:pt x="580606" y="-3239"/>
                    <a:pt x="538813" y="-5560"/>
                    <a:pt x="508874" y="13255"/>
                  </a:cubicBezTo>
                  <a:lnTo>
                    <a:pt x="511501" y="3847"/>
                  </a:lnTo>
                  <a:lnTo>
                    <a:pt x="454678" y="3847"/>
                  </a:lnTo>
                  <a:lnTo>
                    <a:pt x="442457" y="57237"/>
                  </a:lnTo>
                  <a:cubicBezTo>
                    <a:pt x="440233" y="66363"/>
                    <a:pt x="432394" y="73016"/>
                    <a:pt x="423027" y="73730"/>
                  </a:cubicBezTo>
                  <a:lnTo>
                    <a:pt x="419545" y="72876"/>
                  </a:lnTo>
                  <a:lnTo>
                    <a:pt x="435431" y="4031"/>
                  </a:lnTo>
                  <a:lnTo>
                    <a:pt x="377874" y="4031"/>
                  </a:lnTo>
                  <a:lnTo>
                    <a:pt x="365654" y="57543"/>
                  </a:lnTo>
                  <a:cubicBezTo>
                    <a:pt x="363423" y="66681"/>
                    <a:pt x="355602" y="73376"/>
                    <a:pt x="346224" y="74158"/>
                  </a:cubicBezTo>
                  <a:lnTo>
                    <a:pt x="342741" y="73181"/>
                  </a:lnTo>
                  <a:lnTo>
                    <a:pt x="358749" y="4031"/>
                  </a:lnTo>
                  <a:lnTo>
                    <a:pt x="302048" y="4031"/>
                  </a:lnTo>
                  <a:lnTo>
                    <a:pt x="289278" y="57359"/>
                  </a:lnTo>
                  <a:cubicBezTo>
                    <a:pt x="287066" y="66510"/>
                    <a:pt x="279233" y="73211"/>
                    <a:pt x="269847" y="73975"/>
                  </a:cubicBezTo>
                  <a:lnTo>
                    <a:pt x="266365" y="72997"/>
                  </a:lnTo>
                  <a:lnTo>
                    <a:pt x="277974" y="22846"/>
                  </a:lnTo>
                  <a:lnTo>
                    <a:pt x="245529" y="22846"/>
                  </a:lnTo>
                  <a:cubicBezTo>
                    <a:pt x="236279" y="22620"/>
                    <a:pt x="228268" y="16364"/>
                    <a:pt x="225794" y="7452"/>
                  </a:cubicBezTo>
                  <a:lnTo>
                    <a:pt x="224877" y="3908"/>
                  </a:lnTo>
                  <a:lnTo>
                    <a:pt x="186934" y="4031"/>
                  </a:lnTo>
                  <a:lnTo>
                    <a:pt x="174713" y="57420"/>
                  </a:lnTo>
                  <a:cubicBezTo>
                    <a:pt x="172392" y="66327"/>
                    <a:pt x="164485" y="72637"/>
                    <a:pt x="155283" y="72937"/>
                  </a:cubicBezTo>
                  <a:lnTo>
                    <a:pt x="151801" y="72937"/>
                  </a:lnTo>
                  <a:lnTo>
                    <a:pt x="167626" y="4031"/>
                  </a:lnTo>
                  <a:lnTo>
                    <a:pt x="110252" y="4031"/>
                  </a:lnTo>
                  <a:lnTo>
                    <a:pt x="108175" y="12461"/>
                  </a:lnTo>
                  <a:cubicBezTo>
                    <a:pt x="61738" y="-17472"/>
                    <a:pt x="11085" y="18569"/>
                    <a:pt x="1920" y="52106"/>
                  </a:cubicBezTo>
                  <a:cubicBezTo>
                    <a:pt x="-10300" y="97738"/>
                    <a:pt x="37847" y="129075"/>
                    <a:pt x="88439" y="91263"/>
                  </a:cubicBezTo>
                  <a:cubicBezTo>
                    <a:pt x="94549" y="126326"/>
                    <a:pt x="178196" y="100731"/>
                    <a:pt x="190722" y="74891"/>
                  </a:cubicBezTo>
                  <a:lnTo>
                    <a:pt x="192494" y="65973"/>
                  </a:lnTo>
                  <a:cubicBezTo>
                    <a:pt x="194327" y="57243"/>
                    <a:pt x="201903" y="50902"/>
                    <a:pt x="210824" y="50640"/>
                  </a:cubicBezTo>
                  <a:lnTo>
                    <a:pt x="214368" y="50640"/>
                  </a:lnTo>
                  <a:lnTo>
                    <a:pt x="204042" y="94561"/>
                  </a:lnTo>
                  <a:cubicBezTo>
                    <a:pt x="206975" y="112887"/>
                    <a:pt x="250906" y="113559"/>
                    <a:pt x="280846" y="94561"/>
                  </a:cubicBezTo>
                  <a:cubicBezTo>
                    <a:pt x="285550" y="111055"/>
                    <a:pt x="327527" y="113376"/>
                    <a:pt x="357466" y="94561"/>
                  </a:cubicBezTo>
                  <a:cubicBezTo>
                    <a:pt x="362171" y="111055"/>
                    <a:pt x="403903" y="113376"/>
                    <a:pt x="433903" y="94561"/>
                  </a:cubicBezTo>
                  <a:lnTo>
                    <a:pt x="431276" y="103785"/>
                  </a:lnTo>
                  <a:lnTo>
                    <a:pt x="487916" y="103785"/>
                  </a:lnTo>
                  <a:lnTo>
                    <a:pt x="500137" y="50518"/>
                  </a:lnTo>
                  <a:cubicBezTo>
                    <a:pt x="501774" y="41361"/>
                    <a:pt x="509222" y="34360"/>
                    <a:pt x="518467" y="33291"/>
                  </a:cubicBezTo>
                  <a:lnTo>
                    <a:pt x="523294" y="34879"/>
                  </a:lnTo>
                  <a:lnTo>
                    <a:pt x="507347" y="103847"/>
                  </a:lnTo>
                  <a:lnTo>
                    <a:pt x="564842" y="103847"/>
                  </a:lnTo>
                  <a:lnTo>
                    <a:pt x="577063" y="50640"/>
                  </a:lnTo>
                  <a:cubicBezTo>
                    <a:pt x="578718" y="41495"/>
                    <a:pt x="586161" y="34501"/>
                    <a:pt x="595393" y="33413"/>
                  </a:cubicBezTo>
                  <a:lnTo>
                    <a:pt x="600220" y="35002"/>
                  </a:lnTo>
                  <a:lnTo>
                    <a:pt x="584089" y="104152"/>
                  </a:lnTo>
                  <a:lnTo>
                    <a:pt x="640791" y="104152"/>
                  </a:lnTo>
                  <a:close/>
                  <a:moveTo>
                    <a:pt x="61738" y="40683"/>
                  </a:moveTo>
                  <a:cubicBezTo>
                    <a:pt x="69925" y="29015"/>
                    <a:pt x="82329" y="22357"/>
                    <a:pt x="95160" y="27732"/>
                  </a:cubicBezTo>
                  <a:cubicBezTo>
                    <a:pt x="105731" y="32192"/>
                    <a:pt x="106891" y="46730"/>
                    <a:pt x="99743" y="56871"/>
                  </a:cubicBezTo>
                  <a:cubicBezTo>
                    <a:pt x="91494" y="68477"/>
                    <a:pt x="77196" y="75197"/>
                    <a:pt x="65587" y="70554"/>
                  </a:cubicBezTo>
                  <a:cubicBezTo>
                    <a:pt x="53978" y="65912"/>
                    <a:pt x="54834" y="50579"/>
                    <a:pt x="61738" y="40683"/>
                  </a:cubicBezTo>
                </a:path>
              </a:pathLst>
            </a:custGeom>
            <a:solidFill>
              <a:srgbClr val="003971"/>
            </a:solidFill>
            <a:ln w="609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921" name="Rechteck 920">
            <a:extLst>
              <a:ext uri="{FF2B5EF4-FFF2-40B4-BE49-F238E27FC236}">
                <a16:creationId xmlns:a16="http://schemas.microsoft.com/office/drawing/2014/main" id="{231FB40A-72F2-F44B-AC97-0EF8356FB3F0}"/>
              </a:ext>
            </a:extLst>
          </p:cNvPr>
          <p:cNvSpPr>
            <a:spLocks noChangeAspect="1"/>
          </p:cNvSpPr>
          <p:nvPr/>
        </p:nvSpPr>
        <p:spPr>
          <a:xfrm>
            <a:off x="7086046" y="4415222"/>
            <a:ext cx="1654851" cy="486000"/>
          </a:xfrm>
          <a:prstGeom prst="rect">
            <a:avLst/>
          </a:prstGeom>
          <a:solidFill>
            <a:srgbClr val="003971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r>
              <a:rPr lang="cs-CZ" sz="1000" dirty="0">
                <a:solidFill>
                  <a:schemeClr val="bg1"/>
                </a:solidFill>
              </a:rPr>
              <a:t>Zvláště pro</a:t>
            </a:r>
            <a:endParaRPr lang="de-DE" sz="1000" dirty="0">
              <a:solidFill>
                <a:schemeClr val="bg1"/>
              </a:solidFill>
            </a:endParaRPr>
          </a:p>
          <a:p>
            <a:r>
              <a:rPr lang="cs-CZ" sz="1000" dirty="0">
                <a:solidFill>
                  <a:schemeClr val="bg1"/>
                </a:solidFill>
              </a:rPr>
              <a:t>nakládkové</a:t>
            </a:r>
            <a:r>
              <a:rPr lang="de-DE" sz="1000" dirty="0">
                <a:solidFill>
                  <a:schemeClr val="bg1"/>
                </a:solidFill>
              </a:rPr>
              <a:t>/</a:t>
            </a:r>
            <a:r>
              <a:rPr lang="cs-CZ" sz="1000" dirty="0">
                <a:solidFill>
                  <a:schemeClr val="bg1"/>
                </a:solidFill>
              </a:rPr>
              <a:t>vykládkové</a:t>
            </a:r>
            <a:r>
              <a:rPr lang="de-DE" sz="1000" dirty="0">
                <a:solidFill>
                  <a:schemeClr val="bg1"/>
                </a:solidFill>
              </a:rPr>
              <a:t> </a:t>
            </a:r>
            <a:r>
              <a:rPr lang="cs-CZ" sz="1000" dirty="0">
                <a:solidFill>
                  <a:schemeClr val="bg1"/>
                </a:solidFill>
              </a:rPr>
              <a:t>aplikace</a:t>
            </a:r>
            <a:r>
              <a:rPr lang="de-DE" sz="1000" dirty="0">
                <a:solidFill>
                  <a:schemeClr val="bg1"/>
                </a:solidFill>
              </a:rPr>
              <a:t>.</a:t>
            </a:r>
          </a:p>
        </p:txBody>
      </p:sp>
      <p:grpSp>
        <p:nvGrpSpPr>
          <p:cNvPr id="922" name="Gruppieren 921">
            <a:extLst>
              <a:ext uri="{FF2B5EF4-FFF2-40B4-BE49-F238E27FC236}">
                <a16:creationId xmlns:a16="http://schemas.microsoft.com/office/drawing/2014/main" id="{32AC5016-D652-7746-8165-C76E41FEFD31}"/>
              </a:ext>
            </a:extLst>
          </p:cNvPr>
          <p:cNvGrpSpPr/>
          <p:nvPr/>
        </p:nvGrpSpPr>
        <p:grpSpPr>
          <a:xfrm>
            <a:off x="8529641" y="4449613"/>
            <a:ext cx="415498" cy="415498"/>
            <a:chOff x="9696597" y="2784968"/>
            <a:chExt cx="540000" cy="540000"/>
          </a:xfrm>
        </p:grpSpPr>
        <p:sp>
          <p:nvSpPr>
            <p:cNvPr id="923" name="Freihandform 922">
              <a:extLst>
                <a:ext uri="{FF2B5EF4-FFF2-40B4-BE49-F238E27FC236}">
                  <a16:creationId xmlns:a16="http://schemas.microsoft.com/office/drawing/2014/main" id="{9DECF6F7-1BFC-DA4D-B369-0C57433857B7}"/>
                </a:ext>
              </a:extLst>
            </p:cNvPr>
            <p:cNvSpPr/>
            <p:nvPr/>
          </p:nvSpPr>
          <p:spPr>
            <a:xfrm>
              <a:off x="9696597" y="2784968"/>
              <a:ext cx="540000" cy="540000"/>
            </a:xfrm>
            <a:custGeom>
              <a:avLst/>
              <a:gdLst>
                <a:gd name="connsiteX0" fmla="*/ 331932 w 331931"/>
                <a:gd name="connsiteY0" fmla="*/ 164785 h 329569"/>
                <a:gd name="connsiteX1" fmla="*/ 165966 w 331931"/>
                <a:gd name="connsiteY1" fmla="*/ 329570 h 329569"/>
                <a:gd name="connsiteX2" fmla="*/ 0 w 331931"/>
                <a:gd name="connsiteY2" fmla="*/ 164785 h 329569"/>
                <a:gd name="connsiteX3" fmla="*/ 165966 w 331931"/>
                <a:gd name="connsiteY3" fmla="*/ 0 h 329569"/>
                <a:gd name="connsiteX4" fmla="*/ 331932 w 331931"/>
                <a:gd name="connsiteY4" fmla="*/ 164785 h 329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1931" h="329569">
                  <a:moveTo>
                    <a:pt x="331932" y="164785"/>
                  </a:moveTo>
                  <a:cubicBezTo>
                    <a:pt x="331932" y="255793"/>
                    <a:pt x="257626" y="329570"/>
                    <a:pt x="165966" y="329570"/>
                  </a:cubicBezTo>
                  <a:cubicBezTo>
                    <a:pt x="74305" y="329570"/>
                    <a:pt x="0" y="255793"/>
                    <a:pt x="0" y="164785"/>
                  </a:cubicBezTo>
                  <a:cubicBezTo>
                    <a:pt x="0" y="73777"/>
                    <a:pt x="74305" y="0"/>
                    <a:pt x="165966" y="0"/>
                  </a:cubicBezTo>
                  <a:cubicBezTo>
                    <a:pt x="257626" y="0"/>
                    <a:pt x="331932" y="73777"/>
                    <a:pt x="331932" y="164785"/>
                  </a:cubicBezTo>
                  <a:close/>
                </a:path>
              </a:pathLst>
            </a:custGeom>
            <a:solidFill>
              <a:schemeClr val="bg2"/>
            </a:solidFill>
            <a:ln w="22225" cap="flat">
              <a:solidFill>
                <a:srgbClr val="F1D1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24" name="Freihandform 923">
              <a:extLst>
                <a:ext uri="{FF2B5EF4-FFF2-40B4-BE49-F238E27FC236}">
                  <a16:creationId xmlns:a16="http://schemas.microsoft.com/office/drawing/2014/main" id="{0B6498CE-A807-AC4D-B435-50D25C2DFB27}"/>
                </a:ext>
              </a:extLst>
            </p:cNvPr>
            <p:cNvSpPr/>
            <p:nvPr/>
          </p:nvSpPr>
          <p:spPr>
            <a:xfrm>
              <a:off x="9805522" y="2946937"/>
              <a:ext cx="59090" cy="216061"/>
            </a:xfrm>
            <a:custGeom>
              <a:avLst/>
              <a:gdLst>
                <a:gd name="connsiteX0" fmla="*/ 25701 w 36322"/>
                <a:gd name="connsiteY0" fmla="*/ 131866 h 131865"/>
                <a:gd name="connsiteX1" fmla="*/ 10622 w 36322"/>
                <a:gd name="connsiteY1" fmla="*/ 131866 h 131865"/>
                <a:gd name="connsiteX2" fmla="*/ 0 w 36322"/>
                <a:gd name="connsiteY2" fmla="*/ 122948 h 131865"/>
                <a:gd name="connsiteX3" fmla="*/ 0 w 36322"/>
                <a:gd name="connsiteY3" fmla="*/ 8918 h 131865"/>
                <a:gd name="connsiteX4" fmla="*/ 10622 w 36322"/>
                <a:gd name="connsiteY4" fmla="*/ 0 h 131865"/>
                <a:gd name="connsiteX5" fmla="*/ 25701 w 36322"/>
                <a:gd name="connsiteY5" fmla="*/ 0 h 131865"/>
                <a:gd name="connsiteX6" fmla="*/ 36323 w 36322"/>
                <a:gd name="connsiteY6" fmla="*/ 8918 h 131865"/>
                <a:gd name="connsiteX7" fmla="*/ 36323 w 36322"/>
                <a:gd name="connsiteY7" fmla="*/ 123043 h 131865"/>
                <a:gd name="connsiteX8" fmla="*/ 25701 w 36322"/>
                <a:gd name="connsiteY8" fmla="*/ 131866 h 131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322" h="131865">
                  <a:moveTo>
                    <a:pt x="25701" y="131866"/>
                  </a:moveTo>
                  <a:lnTo>
                    <a:pt x="10622" y="131866"/>
                  </a:lnTo>
                  <a:cubicBezTo>
                    <a:pt x="4742" y="131866"/>
                    <a:pt x="0" y="127881"/>
                    <a:pt x="0" y="122948"/>
                  </a:cubicBezTo>
                  <a:lnTo>
                    <a:pt x="0" y="8918"/>
                  </a:lnTo>
                  <a:cubicBezTo>
                    <a:pt x="0" y="3984"/>
                    <a:pt x="4742" y="0"/>
                    <a:pt x="10622" y="0"/>
                  </a:cubicBezTo>
                  <a:lnTo>
                    <a:pt x="25701" y="0"/>
                  </a:lnTo>
                  <a:cubicBezTo>
                    <a:pt x="31581" y="0"/>
                    <a:pt x="36323" y="3984"/>
                    <a:pt x="36323" y="8918"/>
                  </a:cubicBezTo>
                  <a:lnTo>
                    <a:pt x="36323" y="123043"/>
                  </a:lnTo>
                  <a:cubicBezTo>
                    <a:pt x="36323" y="127881"/>
                    <a:pt x="31581" y="131866"/>
                    <a:pt x="25701" y="131866"/>
                  </a:cubicBezTo>
                </a:path>
              </a:pathLst>
            </a:custGeom>
            <a:solidFill>
              <a:srgbClr val="003971"/>
            </a:solidFill>
            <a:ln w="9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25" name="Freihandform 924">
              <a:extLst>
                <a:ext uri="{FF2B5EF4-FFF2-40B4-BE49-F238E27FC236}">
                  <a16:creationId xmlns:a16="http://schemas.microsoft.com/office/drawing/2014/main" id="{61D11274-2F15-A645-8333-48F60BE26F02}"/>
                </a:ext>
              </a:extLst>
            </p:cNvPr>
            <p:cNvSpPr/>
            <p:nvPr/>
          </p:nvSpPr>
          <p:spPr>
            <a:xfrm>
              <a:off x="9777134" y="2998699"/>
              <a:ext cx="62331" cy="112383"/>
            </a:xfrm>
            <a:custGeom>
              <a:avLst/>
              <a:gdLst>
                <a:gd name="connsiteX0" fmla="*/ 27029 w 38314"/>
                <a:gd name="connsiteY0" fmla="*/ 68589 h 68589"/>
                <a:gd name="connsiteX1" fmla="*/ 11286 w 38314"/>
                <a:gd name="connsiteY1" fmla="*/ 68589 h 68589"/>
                <a:gd name="connsiteX2" fmla="*/ 0 w 38314"/>
                <a:gd name="connsiteY2" fmla="*/ 59102 h 68589"/>
                <a:gd name="connsiteX3" fmla="*/ 0 w 38314"/>
                <a:gd name="connsiteY3" fmla="*/ 9487 h 68589"/>
                <a:gd name="connsiteX4" fmla="*/ 11286 w 38314"/>
                <a:gd name="connsiteY4" fmla="*/ 0 h 68589"/>
                <a:gd name="connsiteX5" fmla="*/ 27029 w 38314"/>
                <a:gd name="connsiteY5" fmla="*/ 0 h 68589"/>
                <a:gd name="connsiteX6" fmla="*/ 38314 w 38314"/>
                <a:gd name="connsiteY6" fmla="*/ 9487 h 68589"/>
                <a:gd name="connsiteX7" fmla="*/ 38314 w 38314"/>
                <a:gd name="connsiteY7" fmla="*/ 59102 h 68589"/>
                <a:gd name="connsiteX8" fmla="*/ 27029 w 38314"/>
                <a:gd name="connsiteY8" fmla="*/ 68589 h 68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314" h="68589">
                  <a:moveTo>
                    <a:pt x="27029" y="68589"/>
                  </a:moveTo>
                  <a:lnTo>
                    <a:pt x="11286" y="68589"/>
                  </a:lnTo>
                  <a:cubicBezTo>
                    <a:pt x="5026" y="68589"/>
                    <a:pt x="0" y="64320"/>
                    <a:pt x="0" y="59102"/>
                  </a:cubicBezTo>
                  <a:lnTo>
                    <a:pt x="0" y="9487"/>
                  </a:lnTo>
                  <a:cubicBezTo>
                    <a:pt x="0" y="4269"/>
                    <a:pt x="5026" y="0"/>
                    <a:pt x="11286" y="0"/>
                  </a:cubicBezTo>
                  <a:lnTo>
                    <a:pt x="27029" y="0"/>
                  </a:lnTo>
                  <a:cubicBezTo>
                    <a:pt x="33288" y="0"/>
                    <a:pt x="38314" y="4269"/>
                    <a:pt x="38314" y="9487"/>
                  </a:cubicBezTo>
                  <a:lnTo>
                    <a:pt x="38314" y="59102"/>
                  </a:lnTo>
                  <a:cubicBezTo>
                    <a:pt x="38314" y="64320"/>
                    <a:pt x="33288" y="68589"/>
                    <a:pt x="27029" y="68589"/>
                  </a:cubicBezTo>
                </a:path>
              </a:pathLst>
            </a:custGeom>
            <a:solidFill>
              <a:srgbClr val="003971"/>
            </a:solidFill>
            <a:ln w="9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26" name="Freihandform 925">
              <a:extLst>
                <a:ext uri="{FF2B5EF4-FFF2-40B4-BE49-F238E27FC236}">
                  <a16:creationId xmlns:a16="http://schemas.microsoft.com/office/drawing/2014/main" id="{62B1E644-C1E5-2D41-B8FC-98FB6D52B308}"/>
                </a:ext>
              </a:extLst>
            </p:cNvPr>
            <p:cNvSpPr/>
            <p:nvPr/>
          </p:nvSpPr>
          <p:spPr>
            <a:xfrm>
              <a:off x="9764637" y="3033829"/>
              <a:ext cx="23451" cy="42278"/>
            </a:xfrm>
            <a:custGeom>
              <a:avLst/>
              <a:gdLst>
                <a:gd name="connsiteX0" fmla="*/ 7208 w 14415"/>
                <a:gd name="connsiteY0" fmla="*/ 25804 h 25803"/>
                <a:gd name="connsiteX1" fmla="*/ 7208 w 14415"/>
                <a:gd name="connsiteY1" fmla="*/ 25804 h 25803"/>
                <a:gd name="connsiteX2" fmla="*/ 0 w 14415"/>
                <a:gd name="connsiteY2" fmla="*/ 19732 h 25803"/>
                <a:gd name="connsiteX3" fmla="*/ 0 w 14415"/>
                <a:gd name="connsiteY3" fmla="*/ 6072 h 25803"/>
                <a:gd name="connsiteX4" fmla="*/ 7208 w 14415"/>
                <a:gd name="connsiteY4" fmla="*/ 0 h 25803"/>
                <a:gd name="connsiteX5" fmla="*/ 14415 w 14415"/>
                <a:gd name="connsiteY5" fmla="*/ 6072 h 25803"/>
                <a:gd name="connsiteX6" fmla="*/ 14415 w 14415"/>
                <a:gd name="connsiteY6" fmla="*/ 19732 h 25803"/>
                <a:gd name="connsiteX7" fmla="*/ 7208 w 14415"/>
                <a:gd name="connsiteY7" fmla="*/ 25804 h 25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15" h="25803">
                  <a:moveTo>
                    <a:pt x="7208" y="25804"/>
                  </a:moveTo>
                  <a:lnTo>
                    <a:pt x="7208" y="25804"/>
                  </a:lnTo>
                  <a:cubicBezTo>
                    <a:pt x="3225" y="25804"/>
                    <a:pt x="0" y="23053"/>
                    <a:pt x="0" y="19732"/>
                  </a:cubicBezTo>
                  <a:lnTo>
                    <a:pt x="0" y="6072"/>
                  </a:lnTo>
                  <a:cubicBezTo>
                    <a:pt x="0" y="2751"/>
                    <a:pt x="3225" y="0"/>
                    <a:pt x="7208" y="0"/>
                  </a:cubicBezTo>
                  <a:cubicBezTo>
                    <a:pt x="11191" y="0"/>
                    <a:pt x="14415" y="2751"/>
                    <a:pt x="14415" y="6072"/>
                  </a:cubicBezTo>
                  <a:lnTo>
                    <a:pt x="14415" y="19732"/>
                  </a:lnTo>
                  <a:cubicBezTo>
                    <a:pt x="14415" y="23053"/>
                    <a:pt x="11191" y="25804"/>
                    <a:pt x="7208" y="25804"/>
                  </a:cubicBezTo>
                </a:path>
              </a:pathLst>
            </a:custGeom>
            <a:solidFill>
              <a:srgbClr val="003971"/>
            </a:solidFill>
            <a:ln w="9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27" name="Freihandform 926">
              <a:extLst>
                <a:ext uri="{FF2B5EF4-FFF2-40B4-BE49-F238E27FC236}">
                  <a16:creationId xmlns:a16="http://schemas.microsoft.com/office/drawing/2014/main" id="{565D0116-E788-4D40-9AB4-6A4AAFC971F8}"/>
                </a:ext>
              </a:extLst>
            </p:cNvPr>
            <p:cNvSpPr/>
            <p:nvPr/>
          </p:nvSpPr>
          <p:spPr>
            <a:xfrm>
              <a:off x="10068425" y="2946782"/>
              <a:ext cx="59090" cy="216217"/>
            </a:xfrm>
            <a:custGeom>
              <a:avLst/>
              <a:gdLst>
                <a:gd name="connsiteX0" fmla="*/ 10622 w 36322"/>
                <a:gd name="connsiteY0" fmla="*/ 0 h 131960"/>
                <a:gd name="connsiteX1" fmla="*/ 25701 w 36322"/>
                <a:gd name="connsiteY1" fmla="*/ 0 h 131960"/>
                <a:gd name="connsiteX2" fmla="*/ 36323 w 36322"/>
                <a:gd name="connsiteY2" fmla="*/ 8918 h 131960"/>
                <a:gd name="connsiteX3" fmla="*/ 36323 w 36322"/>
                <a:gd name="connsiteY3" fmla="*/ 123043 h 131960"/>
                <a:gd name="connsiteX4" fmla="*/ 25701 w 36322"/>
                <a:gd name="connsiteY4" fmla="*/ 131961 h 131960"/>
                <a:gd name="connsiteX5" fmla="*/ 10622 w 36322"/>
                <a:gd name="connsiteY5" fmla="*/ 131961 h 131960"/>
                <a:gd name="connsiteX6" fmla="*/ 0 w 36322"/>
                <a:gd name="connsiteY6" fmla="*/ 123043 h 131960"/>
                <a:gd name="connsiteX7" fmla="*/ 0 w 36322"/>
                <a:gd name="connsiteY7" fmla="*/ 8918 h 131960"/>
                <a:gd name="connsiteX8" fmla="*/ 10622 w 36322"/>
                <a:gd name="connsiteY8" fmla="*/ 0 h 131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322" h="131960">
                  <a:moveTo>
                    <a:pt x="10622" y="0"/>
                  </a:moveTo>
                  <a:lnTo>
                    <a:pt x="25701" y="0"/>
                  </a:lnTo>
                  <a:cubicBezTo>
                    <a:pt x="31581" y="0"/>
                    <a:pt x="36323" y="3984"/>
                    <a:pt x="36323" y="8918"/>
                  </a:cubicBezTo>
                  <a:lnTo>
                    <a:pt x="36323" y="123043"/>
                  </a:lnTo>
                  <a:cubicBezTo>
                    <a:pt x="36323" y="127976"/>
                    <a:pt x="31581" y="131961"/>
                    <a:pt x="25701" y="131961"/>
                  </a:cubicBezTo>
                  <a:lnTo>
                    <a:pt x="10622" y="131961"/>
                  </a:lnTo>
                  <a:cubicBezTo>
                    <a:pt x="4742" y="131961"/>
                    <a:pt x="0" y="127976"/>
                    <a:pt x="0" y="123043"/>
                  </a:cubicBezTo>
                  <a:lnTo>
                    <a:pt x="0" y="8918"/>
                  </a:lnTo>
                  <a:cubicBezTo>
                    <a:pt x="0" y="3984"/>
                    <a:pt x="4742" y="0"/>
                    <a:pt x="10622" y="0"/>
                  </a:cubicBezTo>
                </a:path>
              </a:pathLst>
            </a:custGeom>
            <a:solidFill>
              <a:srgbClr val="003971"/>
            </a:solidFill>
            <a:ln w="9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28" name="Freihandform 927">
              <a:extLst>
                <a:ext uri="{FF2B5EF4-FFF2-40B4-BE49-F238E27FC236}">
                  <a16:creationId xmlns:a16="http://schemas.microsoft.com/office/drawing/2014/main" id="{29F91FA8-E263-8F4D-B702-0424F6D52457}"/>
                </a:ext>
              </a:extLst>
            </p:cNvPr>
            <p:cNvSpPr/>
            <p:nvPr/>
          </p:nvSpPr>
          <p:spPr>
            <a:xfrm>
              <a:off x="10093575" y="2998855"/>
              <a:ext cx="62331" cy="112383"/>
            </a:xfrm>
            <a:custGeom>
              <a:avLst/>
              <a:gdLst>
                <a:gd name="connsiteX0" fmla="*/ 11286 w 38314"/>
                <a:gd name="connsiteY0" fmla="*/ 0 h 68589"/>
                <a:gd name="connsiteX1" fmla="*/ 27029 w 38314"/>
                <a:gd name="connsiteY1" fmla="*/ 0 h 68589"/>
                <a:gd name="connsiteX2" fmla="*/ 38314 w 38314"/>
                <a:gd name="connsiteY2" fmla="*/ 9487 h 68589"/>
                <a:gd name="connsiteX3" fmla="*/ 38314 w 38314"/>
                <a:gd name="connsiteY3" fmla="*/ 59102 h 68589"/>
                <a:gd name="connsiteX4" fmla="*/ 27029 w 38314"/>
                <a:gd name="connsiteY4" fmla="*/ 68589 h 68589"/>
                <a:gd name="connsiteX5" fmla="*/ 11286 w 38314"/>
                <a:gd name="connsiteY5" fmla="*/ 68589 h 68589"/>
                <a:gd name="connsiteX6" fmla="*/ 0 w 38314"/>
                <a:gd name="connsiteY6" fmla="*/ 59102 h 68589"/>
                <a:gd name="connsiteX7" fmla="*/ 0 w 38314"/>
                <a:gd name="connsiteY7" fmla="*/ 9487 h 68589"/>
                <a:gd name="connsiteX8" fmla="*/ 11286 w 38314"/>
                <a:gd name="connsiteY8" fmla="*/ 0 h 68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314" h="68589">
                  <a:moveTo>
                    <a:pt x="11286" y="0"/>
                  </a:moveTo>
                  <a:lnTo>
                    <a:pt x="27029" y="0"/>
                  </a:lnTo>
                  <a:cubicBezTo>
                    <a:pt x="33288" y="0"/>
                    <a:pt x="38314" y="4269"/>
                    <a:pt x="38314" y="9487"/>
                  </a:cubicBezTo>
                  <a:lnTo>
                    <a:pt x="38314" y="59102"/>
                  </a:lnTo>
                  <a:cubicBezTo>
                    <a:pt x="38314" y="64320"/>
                    <a:pt x="33288" y="68589"/>
                    <a:pt x="27029" y="68589"/>
                  </a:cubicBezTo>
                  <a:lnTo>
                    <a:pt x="11286" y="68589"/>
                  </a:lnTo>
                  <a:cubicBezTo>
                    <a:pt x="5026" y="68589"/>
                    <a:pt x="0" y="64320"/>
                    <a:pt x="0" y="59102"/>
                  </a:cubicBezTo>
                  <a:lnTo>
                    <a:pt x="0" y="9487"/>
                  </a:lnTo>
                  <a:cubicBezTo>
                    <a:pt x="0" y="4174"/>
                    <a:pt x="5026" y="0"/>
                    <a:pt x="11286" y="0"/>
                  </a:cubicBezTo>
                </a:path>
              </a:pathLst>
            </a:custGeom>
            <a:solidFill>
              <a:srgbClr val="003971"/>
            </a:solidFill>
            <a:ln w="9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29" name="Freihandform 928">
              <a:extLst>
                <a:ext uri="{FF2B5EF4-FFF2-40B4-BE49-F238E27FC236}">
                  <a16:creationId xmlns:a16="http://schemas.microsoft.com/office/drawing/2014/main" id="{DEBD60A5-54FB-B44E-B084-3E4826AFB00D}"/>
                </a:ext>
              </a:extLst>
            </p:cNvPr>
            <p:cNvSpPr/>
            <p:nvPr/>
          </p:nvSpPr>
          <p:spPr>
            <a:xfrm>
              <a:off x="10145107" y="3033829"/>
              <a:ext cx="23451" cy="42278"/>
            </a:xfrm>
            <a:custGeom>
              <a:avLst/>
              <a:gdLst>
                <a:gd name="connsiteX0" fmla="*/ 7208 w 14415"/>
                <a:gd name="connsiteY0" fmla="*/ 0 h 25803"/>
                <a:gd name="connsiteX1" fmla="*/ 7208 w 14415"/>
                <a:gd name="connsiteY1" fmla="*/ 0 h 25803"/>
                <a:gd name="connsiteX2" fmla="*/ 14415 w 14415"/>
                <a:gd name="connsiteY2" fmla="*/ 6072 h 25803"/>
                <a:gd name="connsiteX3" fmla="*/ 14415 w 14415"/>
                <a:gd name="connsiteY3" fmla="*/ 19732 h 25803"/>
                <a:gd name="connsiteX4" fmla="*/ 7208 w 14415"/>
                <a:gd name="connsiteY4" fmla="*/ 25804 h 25803"/>
                <a:gd name="connsiteX5" fmla="*/ 0 w 14415"/>
                <a:gd name="connsiteY5" fmla="*/ 19732 h 25803"/>
                <a:gd name="connsiteX6" fmla="*/ 0 w 14415"/>
                <a:gd name="connsiteY6" fmla="*/ 6072 h 25803"/>
                <a:gd name="connsiteX7" fmla="*/ 7208 w 14415"/>
                <a:gd name="connsiteY7" fmla="*/ 0 h 25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415" h="25803">
                  <a:moveTo>
                    <a:pt x="7208" y="0"/>
                  </a:moveTo>
                  <a:lnTo>
                    <a:pt x="7208" y="0"/>
                  </a:lnTo>
                  <a:cubicBezTo>
                    <a:pt x="11191" y="0"/>
                    <a:pt x="14415" y="2751"/>
                    <a:pt x="14415" y="6072"/>
                  </a:cubicBezTo>
                  <a:lnTo>
                    <a:pt x="14415" y="19732"/>
                  </a:lnTo>
                  <a:cubicBezTo>
                    <a:pt x="14415" y="23053"/>
                    <a:pt x="11191" y="25804"/>
                    <a:pt x="7208" y="25804"/>
                  </a:cubicBezTo>
                  <a:cubicBezTo>
                    <a:pt x="3224" y="25804"/>
                    <a:pt x="0" y="23053"/>
                    <a:pt x="0" y="19732"/>
                  </a:cubicBezTo>
                  <a:lnTo>
                    <a:pt x="0" y="6072"/>
                  </a:lnTo>
                  <a:cubicBezTo>
                    <a:pt x="0" y="2656"/>
                    <a:pt x="3224" y="0"/>
                    <a:pt x="7208" y="0"/>
                  </a:cubicBezTo>
                </a:path>
              </a:pathLst>
            </a:custGeom>
            <a:solidFill>
              <a:srgbClr val="003971"/>
            </a:solidFill>
            <a:ln w="9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30" name="Freihandform 929">
              <a:extLst>
                <a:ext uri="{FF2B5EF4-FFF2-40B4-BE49-F238E27FC236}">
                  <a16:creationId xmlns:a16="http://schemas.microsoft.com/office/drawing/2014/main" id="{B79E2117-B27B-E54D-8F44-D79346E88B0D}"/>
                </a:ext>
              </a:extLst>
            </p:cNvPr>
            <p:cNvSpPr/>
            <p:nvPr/>
          </p:nvSpPr>
          <p:spPr>
            <a:xfrm>
              <a:off x="9852426" y="3029631"/>
              <a:ext cx="253337" cy="50672"/>
            </a:xfrm>
            <a:custGeom>
              <a:avLst/>
              <a:gdLst>
                <a:gd name="connsiteX0" fmla="*/ 0 w 155723"/>
                <a:gd name="connsiteY0" fmla="*/ 0 h 30926"/>
                <a:gd name="connsiteX1" fmla="*/ 155723 w 155723"/>
                <a:gd name="connsiteY1" fmla="*/ 0 h 30926"/>
                <a:gd name="connsiteX2" fmla="*/ 155723 w 155723"/>
                <a:gd name="connsiteY2" fmla="*/ 30927 h 30926"/>
                <a:gd name="connsiteX3" fmla="*/ 0 w 155723"/>
                <a:gd name="connsiteY3" fmla="*/ 30927 h 30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723" h="30926">
                  <a:moveTo>
                    <a:pt x="0" y="0"/>
                  </a:moveTo>
                  <a:lnTo>
                    <a:pt x="155723" y="0"/>
                  </a:lnTo>
                  <a:lnTo>
                    <a:pt x="155723" y="30927"/>
                  </a:lnTo>
                  <a:lnTo>
                    <a:pt x="0" y="30927"/>
                  </a:lnTo>
                  <a:close/>
                </a:path>
              </a:pathLst>
            </a:custGeom>
            <a:solidFill>
              <a:srgbClr val="003971"/>
            </a:solidFill>
            <a:ln w="9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957" name="Textfeld 956">
            <a:extLst>
              <a:ext uri="{FF2B5EF4-FFF2-40B4-BE49-F238E27FC236}">
                <a16:creationId xmlns:a16="http://schemas.microsoft.com/office/drawing/2014/main" id="{54B84FDD-26D1-5145-8BCE-3B406AC6F1BC}"/>
              </a:ext>
            </a:extLst>
          </p:cNvPr>
          <p:cNvSpPr txBox="1"/>
          <p:nvPr/>
        </p:nvSpPr>
        <p:spPr>
          <a:xfrm>
            <a:off x="6156476" y="1421884"/>
            <a:ext cx="118427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700" dirty="0"/>
              <a:t>Profilové verze</a:t>
            </a:r>
            <a:endParaRPr lang="de-DE" sz="700" dirty="0"/>
          </a:p>
        </p:txBody>
      </p:sp>
      <p:grpSp>
        <p:nvGrpSpPr>
          <p:cNvPr id="977" name="Gruppieren 976">
            <a:extLst>
              <a:ext uri="{FF2B5EF4-FFF2-40B4-BE49-F238E27FC236}">
                <a16:creationId xmlns:a16="http://schemas.microsoft.com/office/drawing/2014/main" id="{15D58CF8-AB55-5F46-9E6E-D6A3134124DB}"/>
              </a:ext>
            </a:extLst>
          </p:cNvPr>
          <p:cNvGrpSpPr/>
          <p:nvPr/>
        </p:nvGrpSpPr>
        <p:grpSpPr>
          <a:xfrm>
            <a:off x="7082919" y="752531"/>
            <a:ext cx="1289522" cy="704535"/>
            <a:chOff x="7860788" y="1781850"/>
            <a:chExt cx="1289522" cy="704535"/>
          </a:xfrm>
        </p:grpSpPr>
        <p:sp>
          <p:nvSpPr>
            <p:cNvPr id="958" name="Textfeld 957">
              <a:extLst>
                <a:ext uri="{FF2B5EF4-FFF2-40B4-BE49-F238E27FC236}">
                  <a16:creationId xmlns:a16="http://schemas.microsoft.com/office/drawing/2014/main" id="{6E506B85-CA28-2544-9557-ACF81194DEC3}"/>
                </a:ext>
              </a:extLst>
            </p:cNvPr>
            <p:cNvSpPr txBox="1"/>
            <p:nvPr/>
          </p:nvSpPr>
          <p:spPr>
            <a:xfrm>
              <a:off x="7860788" y="1781850"/>
              <a:ext cx="83055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800" dirty="0"/>
                <a:t>Velikost </a:t>
              </a:r>
              <a:r>
                <a:rPr lang="cs-CZ" sz="800" dirty="0" err="1"/>
                <a:t>fleetu</a:t>
              </a:r>
              <a:endParaRPr lang="de-DE" sz="900" dirty="0"/>
            </a:p>
          </p:txBody>
        </p:sp>
        <p:sp>
          <p:nvSpPr>
            <p:cNvPr id="959" name="Rechteck 958">
              <a:extLst>
                <a:ext uri="{FF2B5EF4-FFF2-40B4-BE49-F238E27FC236}">
                  <a16:creationId xmlns:a16="http://schemas.microsoft.com/office/drawing/2014/main" id="{302B6758-DD74-EA43-A92B-34F05A908E3F}"/>
                </a:ext>
              </a:extLst>
            </p:cNvPr>
            <p:cNvSpPr/>
            <p:nvPr/>
          </p:nvSpPr>
          <p:spPr>
            <a:xfrm>
              <a:off x="7893234" y="1984980"/>
              <a:ext cx="31931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dirty="0"/>
                <a:t>&lt;</a:t>
              </a:r>
              <a:endParaRPr lang="de-DE" sz="2801" dirty="0"/>
            </a:p>
          </p:txBody>
        </p:sp>
        <p:sp>
          <p:nvSpPr>
            <p:cNvPr id="960" name="Textfeld 959">
              <a:extLst>
                <a:ext uri="{FF2B5EF4-FFF2-40B4-BE49-F238E27FC236}">
                  <a16:creationId xmlns:a16="http://schemas.microsoft.com/office/drawing/2014/main" id="{4DBF52C5-2669-3C47-A812-AE172D306694}"/>
                </a:ext>
              </a:extLst>
            </p:cNvPr>
            <p:cNvSpPr txBox="1"/>
            <p:nvPr/>
          </p:nvSpPr>
          <p:spPr>
            <a:xfrm>
              <a:off x="8028741" y="1840054"/>
              <a:ext cx="112156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3600" dirty="0"/>
                <a:t>5</a:t>
              </a:r>
            </a:p>
          </p:txBody>
        </p:sp>
      </p:grpSp>
      <p:sp>
        <p:nvSpPr>
          <p:cNvPr id="961" name="Textfeld 960">
            <a:extLst>
              <a:ext uri="{FF2B5EF4-FFF2-40B4-BE49-F238E27FC236}">
                <a16:creationId xmlns:a16="http://schemas.microsoft.com/office/drawing/2014/main" id="{03934B27-70A7-0A42-91C7-0949ACC2BEAF}"/>
              </a:ext>
            </a:extLst>
          </p:cNvPr>
          <p:cNvSpPr txBox="1"/>
          <p:nvPr/>
        </p:nvSpPr>
        <p:spPr>
          <a:xfrm>
            <a:off x="7082920" y="1414190"/>
            <a:ext cx="191529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0" dirty="0" err="1"/>
              <a:t>Pronájem</a:t>
            </a:r>
            <a:r>
              <a:rPr lang="de-DE" sz="700" dirty="0"/>
              <a:t>, </a:t>
            </a:r>
            <a:r>
              <a:rPr lang="de-DE" sz="700" dirty="0" err="1"/>
              <a:t>malé</a:t>
            </a:r>
            <a:r>
              <a:rPr lang="de-DE" sz="700" dirty="0"/>
              <a:t> </a:t>
            </a:r>
            <a:r>
              <a:rPr lang="de-DE" sz="700" dirty="0" err="1"/>
              <a:t>regionální</a:t>
            </a:r>
            <a:r>
              <a:rPr lang="de-DE" sz="700" dirty="0"/>
              <a:t> </a:t>
            </a:r>
            <a:r>
              <a:rPr lang="de-DE" sz="700" dirty="0" err="1"/>
              <a:t>výrobní</a:t>
            </a:r>
            <a:r>
              <a:rPr lang="de-DE" sz="700" dirty="0"/>
              <a:t> a </a:t>
            </a:r>
            <a:r>
              <a:rPr lang="de-DE" sz="700" dirty="0" err="1"/>
              <a:t>logistické</a:t>
            </a:r>
            <a:r>
              <a:rPr lang="de-DE" sz="700" dirty="0"/>
              <a:t> </a:t>
            </a:r>
            <a:r>
              <a:rPr lang="de-DE" sz="700" dirty="0" err="1"/>
              <a:t>společnosti</a:t>
            </a:r>
            <a:r>
              <a:rPr lang="de-DE" sz="700" dirty="0"/>
              <a:t>, </a:t>
            </a:r>
            <a:r>
              <a:rPr lang="de-DE" sz="700" dirty="0" err="1"/>
              <a:t>obchod</a:t>
            </a:r>
            <a:r>
              <a:rPr lang="de-DE" sz="700" dirty="0"/>
              <a:t>, </a:t>
            </a:r>
            <a:r>
              <a:rPr lang="de-DE" sz="700" dirty="0" err="1"/>
              <a:t>zahradní</a:t>
            </a:r>
            <a:r>
              <a:rPr lang="de-DE" sz="700" dirty="0"/>
              <a:t> </a:t>
            </a:r>
            <a:r>
              <a:rPr lang="de-DE" sz="700" dirty="0" err="1"/>
              <a:t>centra</a:t>
            </a:r>
            <a:r>
              <a:rPr lang="de-DE" sz="700" dirty="0"/>
              <a:t>, </a:t>
            </a:r>
            <a:r>
              <a:rPr lang="de-DE" sz="700" dirty="0" err="1"/>
              <a:t>řemesln</a:t>
            </a:r>
            <a:r>
              <a:rPr lang="cs-CZ" sz="700" dirty="0"/>
              <a:t>á výroba</a:t>
            </a:r>
            <a:r>
              <a:rPr lang="de-DE" sz="700" dirty="0"/>
              <a:t>, </a:t>
            </a:r>
            <a:r>
              <a:rPr lang="de-DE" sz="700" dirty="0" err="1"/>
              <a:t>zemědělství</a:t>
            </a:r>
            <a:endParaRPr lang="de-DE" sz="700" dirty="0"/>
          </a:p>
        </p:txBody>
      </p:sp>
      <p:grpSp>
        <p:nvGrpSpPr>
          <p:cNvPr id="978" name="Gruppieren 977">
            <a:extLst>
              <a:ext uri="{FF2B5EF4-FFF2-40B4-BE49-F238E27FC236}">
                <a16:creationId xmlns:a16="http://schemas.microsoft.com/office/drawing/2014/main" id="{9926D452-13D6-6B4E-86B7-EAFC5AA36CDA}"/>
              </a:ext>
            </a:extLst>
          </p:cNvPr>
          <p:cNvGrpSpPr/>
          <p:nvPr/>
        </p:nvGrpSpPr>
        <p:grpSpPr>
          <a:xfrm>
            <a:off x="6228184" y="1764697"/>
            <a:ext cx="1018948" cy="885600"/>
            <a:chOff x="7999671" y="3432482"/>
            <a:chExt cx="1018948" cy="885600"/>
          </a:xfrm>
        </p:grpSpPr>
        <p:grpSp>
          <p:nvGrpSpPr>
            <p:cNvPr id="962" name="Gruppieren 961">
              <a:extLst>
                <a:ext uri="{FF2B5EF4-FFF2-40B4-BE49-F238E27FC236}">
                  <a16:creationId xmlns:a16="http://schemas.microsoft.com/office/drawing/2014/main" id="{70A622AE-B1AA-2340-8336-43355BAB4A3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040565" y="3432482"/>
              <a:ext cx="847505" cy="885600"/>
              <a:chOff x="6960794" y="686398"/>
              <a:chExt cx="1880578" cy="1965113"/>
            </a:xfrm>
          </p:grpSpPr>
          <p:sp>
            <p:nvSpPr>
              <p:cNvPr id="963" name="Freihandform 962">
                <a:extLst>
                  <a:ext uri="{FF2B5EF4-FFF2-40B4-BE49-F238E27FC236}">
                    <a16:creationId xmlns:a16="http://schemas.microsoft.com/office/drawing/2014/main" id="{CE4D78D6-D1B1-1D47-9320-51B69F979C0D}"/>
                  </a:ext>
                </a:extLst>
              </p:cNvPr>
              <p:cNvSpPr/>
              <p:nvPr/>
            </p:nvSpPr>
            <p:spPr>
              <a:xfrm>
                <a:off x="6961113" y="905381"/>
                <a:ext cx="1880259" cy="346447"/>
              </a:xfrm>
              <a:custGeom>
                <a:avLst/>
                <a:gdLst>
                  <a:gd name="connsiteX0" fmla="*/ 680603 w 719096"/>
                  <a:gd name="connsiteY0" fmla="*/ 0 h 132497"/>
                  <a:gd name="connsiteX1" fmla="*/ 626773 w 719096"/>
                  <a:gd name="connsiteY1" fmla="*/ 0 h 132497"/>
                  <a:gd name="connsiteX2" fmla="*/ 626773 w 719096"/>
                  <a:gd name="connsiteY2" fmla="*/ 58338 h 132497"/>
                  <a:gd name="connsiteX3" fmla="*/ 590112 w 719096"/>
                  <a:gd name="connsiteY3" fmla="*/ 94990 h 132497"/>
                  <a:gd name="connsiteX4" fmla="*/ 553452 w 719096"/>
                  <a:gd name="connsiteY4" fmla="*/ 58338 h 132497"/>
                  <a:gd name="connsiteX5" fmla="*/ 553452 w 719096"/>
                  <a:gd name="connsiteY5" fmla="*/ 0 h 132497"/>
                  <a:gd name="connsiteX6" fmla="*/ 165644 w 719096"/>
                  <a:gd name="connsiteY6" fmla="*/ 0 h 132497"/>
                  <a:gd name="connsiteX7" fmla="*/ 165644 w 719096"/>
                  <a:gd name="connsiteY7" fmla="*/ 58338 h 132497"/>
                  <a:gd name="connsiteX8" fmla="*/ 128984 w 719096"/>
                  <a:gd name="connsiteY8" fmla="*/ 94990 h 132497"/>
                  <a:gd name="connsiteX9" fmla="*/ 92323 w 719096"/>
                  <a:gd name="connsiteY9" fmla="*/ 58338 h 132497"/>
                  <a:gd name="connsiteX10" fmla="*/ 92323 w 719096"/>
                  <a:gd name="connsiteY10" fmla="*/ 0 h 132497"/>
                  <a:gd name="connsiteX11" fmla="*/ 38494 w 719096"/>
                  <a:gd name="connsiteY11" fmla="*/ 0 h 132497"/>
                  <a:gd name="connsiteX12" fmla="*/ 0 w 719096"/>
                  <a:gd name="connsiteY12" fmla="*/ 38485 h 132497"/>
                  <a:gd name="connsiteX13" fmla="*/ 0 w 719096"/>
                  <a:gd name="connsiteY13" fmla="*/ 38546 h 132497"/>
                  <a:gd name="connsiteX14" fmla="*/ 0 w 719096"/>
                  <a:gd name="connsiteY14" fmla="*/ 93951 h 132497"/>
                  <a:gd name="connsiteX15" fmla="*/ 38433 w 719096"/>
                  <a:gd name="connsiteY15" fmla="*/ 132497 h 132497"/>
                  <a:gd name="connsiteX16" fmla="*/ 38494 w 719096"/>
                  <a:gd name="connsiteY16" fmla="*/ 132497 h 132497"/>
                  <a:gd name="connsiteX17" fmla="*/ 680603 w 719096"/>
                  <a:gd name="connsiteY17" fmla="*/ 132497 h 132497"/>
                  <a:gd name="connsiteX18" fmla="*/ 719096 w 719096"/>
                  <a:gd name="connsiteY18" fmla="*/ 94012 h 132497"/>
                  <a:gd name="connsiteX19" fmla="*/ 719096 w 719096"/>
                  <a:gd name="connsiteY19" fmla="*/ 93951 h 132497"/>
                  <a:gd name="connsiteX20" fmla="*/ 719096 w 719096"/>
                  <a:gd name="connsiteY20" fmla="*/ 38546 h 132497"/>
                  <a:gd name="connsiteX21" fmla="*/ 680664 w 719096"/>
                  <a:gd name="connsiteY21" fmla="*/ 0 h 132497"/>
                  <a:gd name="connsiteX22" fmla="*/ 680603 w 719096"/>
                  <a:gd name="connsiteY22" fmla="*/ 0 h 132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19096" h="132497">
                    <a:moveTo>
                      <a:pt x="680603" y="0"/>
                    </a:moveTo>
                    <a:lnTo>
                      <a:pt x="626773" y="0"/>
                    </a:lnTo>
                    <a:lnTo>
                      <a:pt x="626773" y="58338"/>
                    </a:lnTo>
                    <a:cubicBezTo>
                      <a:pt x="626773" y="78580"/>
                      <a:pt x="610361" y="94990"/>
                      <a:pt x="590112" y="94990"/>
                    </a:cubicBezTo>
                    <a:cubicBezTo>
                      <a:pt x="569863" y="94990"/>
                      <a:pt x="553452" y="78580"/>
                      <a:pt x="553452" y="58338"/>
                    </a:cubicBezTo>
                    <a:lnTo>
                      <a:pt x="553452" y="0"/>
                    </a:lnTo>
                    <a:lnTo>
                      <a:pt x="165644" y="0"/>
                    </a:lnTo>
                    <a:lnTo>
                      <a:pt x="165644" y="58338"/>
                    </a:lnTo>
                    <a:cubicBezTo>
                      <a:pt x="165644" y="78580"/>
                      <a:pt x="149233" y="94990"/>
                      <a:pt x="128984" y="94990"/>
                    </a:cubicBezTo>
                    <a:cubicBezTo>
                      <a:pt x="108735" y="94990"/>
                      <a:pt x="92323" y="78580"/>
                      <a:pt x="92323" y="58338"/>
                    </a:cubicBezTo>
                    <a:lnTo>
                      <a:pt x="92323" y="0"/>
                    </a:lnTo>
                    <a:lnTo>
                      <a:pt x="38494" y="0"/>
                    </a:lnTo>
                    <a:cubicBezTo>
                      <a:pt x="17237" y="0"/>
                      <a:pt x="0" y="17230"/>
                      <a:pt x="0" y="38485"/>
                    </a:cubicBezTo>
                    <a:cubicBezTo>
                      <a:pt x="0" y="38505"/>
                      <a:pt x="0" y="38526"/>
                      <a:pt x="0" y="38546"/>
                    </a:cubicBezTo>
                    <a:lnTo>
                      <a:pt x="0" y="93951"/>
                    </a:lnTo>
                    <a:cubicBezTo>
                      <a:pt x="-37" y="115206"/>
                      <a:pt x="17176" y="132463"/>
                      <a:pt x="38433" y="132497"/>
                    </a:cubicBezTo>
                    <a:cubicBezTo>
                      <a:pt x="38451" y="132497"/>
                      <a:pt x="38475" y="132497"/>
                      <a:pt x="38494" y="132497"/>
                    </a:cubicBezTo>
                    <a:lnTo>
                      <a:pt x="680603" y="132497"/>
                    </a:lnTo>
                    <a:cubicBezTo>
                      <a:pt x="701860" y="132497"/>
                      <a:pt x="719096" y="115267"/>
                      <a:pt x="719096" y="94012"/>
                    </a:cubicBezTo>
                    <a:cubicBezTo>
                      <a:pt x="719096" y="93992"/>
                      <a:pt x="719096" y="93971"/>
                      <a:pt x="719096" y="93951"/>
                    </a:cubicBezTo>
                    <a:lnTo>
                      <a:pt x="719096" y="38546"/>
                    </a:lnTo>
                    <a:cubicBezTo>
                      <a:pt x="719127" y="17291"/>
                      <a:pt x="701920" y="34"/>
                      <a:pt x="680664" y="0"/>
                    </a:cubicBezTo>
                    <a:cubicBezTo>
                      <a:pt x="680645" y="0"/>
                      <a:pt x="680621" y="0"/>
                      <a:pt x="680603" y="0"/>
                    </a:cubicBezTo>
                  </a:path>
                </a:pathLst>
              </a:custGeom>
              <a:solidFill>
                <a:srgbClr val="F1D100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4" name="Freihandform 963">
                <a:extLst>
                  <a:ext uri="{FF2B5EF4-FFF2-40B4-BE49-F238E27FC236}">
                    <a16:creationId xmlns:a16="http://schemas.microsoft.com/office/drawing/2014/main" id="{EEDB199D-58EC-7E4D-88B0-1FEF12CF78DE}"/>
                  </a:ext>
                </a:extLst>
              </p:cNvPr>
              <p:cNvSpPr/>
              <p:nvPr/>
            </p:nvSpPr>
            <p:spPr>
              <a:xfrm>
                <a:off x="7233669" y="686398"/>
                <a:ext cx="126371" cy="425865"/>
              </a:xfrm>
              <a:custGeom>
                <a:avLst/>
                <a:gdLst>
                  <a:gd name="connsiteX0" fmla="*/ 24440 w 48330"/>
                  <a:gd name="connsiteY0" fmla="*/ 244 h 162870"/>
                  <a:gd name="connsiteX1" fmla="*/ 0 w 48330"/>
                  <a:gd name="connsiteY1" fmla="*/ 24679 h 162870"/>
                  <a:gd name="connsiteX2" fmla="*/ 0 w 48330"/>
                  <a:gd name="connsiteY2" fmla="*/ 142088 h 162870"/>
                  <a:gd name="connsiteX3" fmla="*/ 27819 w 48330"/>
                  <a:gd name="connsiteY3" fmla="*/ 162593 h 162870"/>
                  <a:gd name="connsiteX4" fmla="*/ 48331 w 48330"/>
                  <a:gd name="connsiteY4" fmla="*/ 142088 h 162870"/>
                  <a:gd name="connsiteX5" fmla="*/ 48331 w 48330"/>
                  <a:gd name="connsiteY5" fmla="*/ 24435 h 162870"/>
                  <a:gd name="connsiteX6" fmla="*/ 23890 w 48330"/>
                  <a:gd name="connsiteY6" fmla="*/ 0 h 16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330" h="162870">
                    <a:moveTo>
                      <a:pt x="24440" y="244"/>
                    </a:moveTo>
                    <a:cubicBezTo>
                      <a:pt x="10943" y="244"/>
                      <a:pt x="0" y="11184"/>
                      <a:pt x="0" y="24679"/>
                    </a:cubicBezTo>
                    <a:lnTo>
                      <a:pt x="0" y="142088"/>
                    </a:lnTo>
                    <a:cubicBezTo>
                      <a:pt x="2016" y="155431"/>
                      <a:pt x="14475" y="164611"/>
                      <a:pt x="27819" y="162593"/>
                    </a:cubicBezTo>
                    <a:cubicBezTo>
                      <a:pt x="38414" y="160990"/>
                      <a:pt x="46730" y="152678"/>
                      <a:pt x="48331" y="142088"/>
                    </a:cubicBezTo>
                    <a:lnTo>
                      <a:pt x="48331" y="24435"/>
                    </a:lnTo>
                    <a:cubicBezTo>
                      <a:pt x="48331" y="10940"/>
                      <a:pt x="37388" y="0"/>
                      <a:pt x="23890" y="0"/>
                    </a:cubicBezTo>
                  </a:path>
                </a:pathLst>
              </a:custGeom>
              <a:solidFill>
                <a:srgbClr val="00397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5" name="Freihandform 964">
                <a:extLst>
                  <a:ext uri="{FF2B5EF4-FFF2-40B4-BE49-F238E27FC236}">
                    <a16:creationId xmlns:a16="http://schemas.microsoft.com/office/drawing/2014/main" id="{0444AC6D-720E-4141-AC56-92CBB7E0BB76}"/>
                  </a:ext>
                </a:extLst>
              </p:cNvPr>
              <p:cNvSpPr/>
              <p:nvPr/>
            </p:nvSpPr>
            <p:spPr>
              <a:xfrm>
                <a:off x="8440046" y="686398"/>
                <a:ext cx="126371" cy="425865"/>
              </a:xfrm>
              <a:custGeom>
                <a:avLst/>
                <a:gdLst>
                  <a:gd name="connsiteX0" fmla="*/ 24440 w 48330"/>
                  <a:gd name="connsiteY0" fmla="*/ 244 h 162870"/>
                  <a:gd name="connsiteX1" fmla="*/ 0 w 48330"/>
                  <a:gd name="connsiteY1" fmla="*/ 24679 h 162870"/>
                  <a:gd name="connsiteX2" fmla="*/ 0 w 48330"/>
                  <a:gd name="connsiteY2" fmla="*/ 142088 h 162870"/>
                  <a:gd name="connsiteX3" fmla="*/ 27819 w 48330"/>
                  <a:gd name="connsiteY3" fmla="*/ 162593 h 162870"/>
                  <a:gd name="connsiteX4" fmla="*/ 48331 w 48330"/>
                  <a:gd name="connsiteY4" fmla="*/ 142088 h 162870"/>
                  <a:gd name="connsiteX5" fmla="*/ 48331 w 48330"/>
                  <a:gd name="connsiteY5" fmla="*/ 24435 h 162870"/>
                  <a:gd name="connsiteX6" fmla="*/ 23890 w 48330"/>
                  <a:gd name="connsiteY6" fmla="*/ 0 h 162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330" h="162870">
                    <a:moveTo>
                      <a:pt x="24440" y="244"/>
                    </a:moveTo>
                    <a:cubicBezTo>
                      <a:pt x="10943" y="244"/>
                      <a:pt x="0" y="11184"/>
                      <a:pt x="0" y="24679"/>
                    </a:cubicBezTo>
                    <a:lnTo>
                      <a:pt x="0" y="142088"/>
                    </a:lnTo>
                    <a:cubicBezTo>
                      <a:pt x="2016" y="155431"/>
                      <a:pt x="14475" y="164611"/>
                      <a:pt x="27819" y="162593"/>
                    </a:cubicBezTo>
                    <a:cubicBezTo>
                      <a:pt x="38414" y="160990"/>
                      <a:pt x="46730" y="152678"/>
                      <a:pt x="48331" y="142088"/>
                    </a:cubicBezTo>
                    <a:lnTo>
                      <a:pt x="48331" y="24435"/>
                    </a:lnTo>
                    <a:cubicBezTo>
                      <a:pt x="48331" y="10940"/>
                      <a:pt x="37388" y="0"/>
                      <a:pt x="23890" y="0"/>
                    </a:cubicBezTo>
                  </a:path>
                </a:pathLst>
              </a:custGeom>
              <a:solidFill>
                <a:srgbClr val="00397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66" name="Freihandform 965">
                <a:extLst>
                  <a:ext uri="{FF2B5EF4-FFF2-40B4-BE49-F238E27FC236}">
                    <a16:creationId xmlns:a16="http://schemas.microsoft.com/office/drawing/2014/main" id="{9BCBB9FA-9ACB-9648-AEF6-097973970C77}"/>
                  </a:ext>
                </a:extLst>
              </p:cNvPr>
              <p:cNvSpPr/>
              <p:nvPr/>
            </p:nvSpPr>
            <p:spPr>
              <a:xfrm>
                <a:off x="6960794" y="1316039"/>
                <a:ext cx="1880578" cy="1335472"/>
              </a:xfrm>
              <a:custGeom>
                <a:avLst/>
                <a:gdLst>
                  <a:gd name="connsiteX0" fmla="*/ 660378 w 719218"/>
                  <a:gd name="connsiteY0" fmla="*/ 156443 h 510745"/>
                  <a:gd name="connsiteX1" fmla="*/ 517830 w 719218"/>
                  <a:gd name="connsiteY1" fmla="*/ 156443 h 510745"/>
                  <a:gd name="connsiteX2" fmla="*/ 517830 w 719218"/>
                  <a:gd name="connsiteY2" fmla="*/ 63164 h 510745"/>
                  <a:gd name="connsiteX3" fmla="*/ 660378 w 719218"/>
                  <a:gd name="connsiteY3" fmla="*/ 63164 h 510745"/>
                  <a:gd name="connsiteX4" fmla="*/ 426178 w 719218"/>
                  <a:gd name="connsiteY4" fmla="*/ 156443 h 510745"/>
                  <a:gd name="connsiteX5" fmla="*/ 283630 w 719218"/>
                  <a:gd name="connsiteY5" fmla="*/ 156443 h 510745"/>
                  <a:gd name="connsiteX6" fmla="*/ 283630 w 719218"/>
                  <a:gd name="connsiteY6" fmla="*/ 63164 h 510745"/>
                  <a:gd name="connsiteX7" fmla="*/ 426117 w 719218"/>
                  <a:gd name="connsiteY7" fmla="*/ 63164 h 510745"/>
                  <a:gd name="connsiteX8" fmla="*/ 191979 w 719218"/>
                  <a:gd name="connsiteY8" fmla="*/ 156443 h 510745"/>
                  <a:gd name="connsiteX9" fmla="*/ 49369 w 719218"/>
                  <a:gd name="connsiteY9" fmla="*/ 156443 h 510745"/>
                  <a:gd name="connsiteX10" fmla="*/ 49369 w 719218"/>
                  <a:gd name="connsiteY10" fmla="*/ 63164 h 510745"/>
                  <a:gd name="connsiteX11" fmla="*/ 191796 w 719218"/>
                  <a:gd name="connsiteY11" fmla="*/ 63164 h 510745"/>
                  <a:gd name="connsiteX12" fmla="*/ 680786 w 719218"/>
                  <a:gd name="connsiteY12" fmla="*/ 0 h 510745"/>
                  <a:gd name="connsiteX13" fmla="*/ 38493 w 719218"/>
                  <a:gd name="connsiteY13" fmla="*/ 0 h 510745"/>
                  <a:gd name="connsiteX14" fmla="*/ 0 w 719218"/>
                  <a:gd name="connsiteY14" fmla="*/ 38485 h 510745"/>
                  <a:gd name="connsiteX15" fmla="*/ 0 w 719218"/>
                  <a:gd name="connsiteY15" fmla="*/ 472200 h 510745"/>
                  <a:gd name="connsiteX16" fmla="*/ 38493 w 719218"/>
                  <a:gd name="connsiteY16" fmla="*/ 510746 h 510745"/>
                  <a:gd name="connsiteX17" fmla="*/ 680725 w 719218"/>
                  <a:gd name="connsiteY17" fmla="*/ 510746 h 510745"/>
                  <a:gd name="connsiteX18" fmla="*/ 719218 w 719218"/>
                  <a:gd name="connsiteY18" fmla="*/ 472200 h 510745"/>
                  <a:gd name="connsiteX19" fmla="*/ 719218 w 719218"/>
                  <a:gd name="connsiteY19" fmla="*/ 38485 h 510745"/>
                  <a:gd name="connsiteX20" fmla="*/ 680725 w 719218"/>
                  <a:gd name="connsiteY20" fmla="*/ 0 h 510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19218" h="510745">
                    <a:moveTo>
                      <a:pt x="660378" y="156443"/>
                    </a:moveTo>
                    <a:lnTo>
                      <a:pt x="517830" y="156443"/>
                    </a:lnTo>
                    <a:lnTo>
                      <a:pt x="517830" y="63164"/>
                    </a:lnTo>
                    <a:lnTo>
                      <a:pt x="660378" y="63164"/>
                    </a:lnTo>
                    <a:close/>
                    <a:moveTo>
                      <a:pt x="426178" y="156443"/>
                    </a:moveTo>
                    <a:lnTo>
                      <a:pt x="283630" y="156443"/>
                    </a:lnTo>
                    <a:lnTo>
                      <a:pt x="283630" y="63164"/>
                    </a:lnTo>
                    <a:lnTo>
                      <a:pt x="426117" y="63164"/>
                    </a:lnTo>
                    <a:close/>
                    <a:moveTo>
                      <a:pt x="191979" y="156443"/>
                    </a:moveTo>
                    <a:lnTo>
                      <a:pt x="49369" y="156443"/>
                    </a:lnTo>
                    <a:lnTo>
                      <a:pt x="49369" y="63164"/>
                    </a:lnTo>
                    <a:lnTo>
                      <a:pt x="191796" y="63164"/>
                    </a:lnTo>
                    <a:close/>
                    <a:moveTo>
                      <a:pt x="680786" y="0"/>
                    </a:moveTo>
                    <a:lnTo>
                      <a:pt x="38493" y="0"/>
                    </a:lnTo>
                    <a:cubicBezTo>
                      <a:pt x="17236" y="0"/>
                      <a:pt x="0" y="17230"/>
                      <a:pt x="0" y="38485"/>
                    </a:cubicBezTo>
                    <a:lnTo>
                      <a:pt x="0" y="472200"/>
                    </a:lnTo>
                    <a:cubicBezTo>
                      <a:pt x="0" y="493464"/>
                      <a:pt x="17224" y="510709"/>
                      <a:pt x="38493" y="510746"/>
                    </a:cubicBezTo>
                    <a:lnTo>
                      <a:pt x="680725" y="510746"/>
                    </a:lnTo>
                    <a:cubicBezTo>
                      <a:pt x="701994" y="510709"/>
                      <a:pt x="719218" y="493464"/>
                      <a:pt x="719218" y="472200"/>
                    </a:cubicBezTo>
                    <a:lnTo>
                      <a:pt x="719218" y="38485"/>
                    </a:lnTo>
                    <a:cubicBezTo>
                      <a:pt x="719218" y="17230"/>
                      <a:pt x="701982" y="0"/>
                      <a:pt x="680725" y="0"/>
                    </a:cubicBezTo>
                  </a:path>
                </a:pathLst>
              </a:custGeom>
              <a:solidFill>
                <a:srgbClr val="00397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967" name="Gruppieren 966">
              <a:extLst>
                <a:ext uri="{FF2B5EF4-FFF2-40B4-BE49-F238E27FC236}">
                  <a16:creationId xmlns:a16="http://schemas.microsoft.com/office/drawing/2014/main" id="{92607199-4F47-7943-A4CE-89B23855384C}"/>
                </a:ext>
              </a:extLst>
            </p:cNvPr>
            <p:cNvGrpSpPr/>
            <p:nvPr/>
          </p:nvGrpSpPr>
          <p:grpSpPr>
            <a:xfrm>
              <a:off x="7999671" y="3912885"/>
              <a:ext cx="1018948" cy="401768"/>
              <a:chOff x="12826571" y="1241176"/>
              <a:chExt cx="1018948" cy="401768"/>
            </a:xfrm>
          </p:grpSpPr>
          <p:sp>
            <p:nvSpPr>
              <p:cNvPr id="968" name="Textfeld 967">
                <a:extLst>
                  <a:ext uri="{FF2B5EF4-FFF2-40B4-BE49-F238E27FC236}">
                    <a16:creationId xmlns:a16="http://schemas.microsoft.com/office/drawing/2014/main" id="{3E6552AD-7F4F-7E45-9F9C-30C666FE5126}"/>
                  </a:ext>
                </a:extLst>
              </p:cNvPr>
              <p:cNvSpPr txBox="1"/>
              <p:nvPr/>
            </p:nvSpPr>
            <p:spPr>
              <a:xfrm>
                <a:off x="12831294" y="1241176"/>
                <a:ext cx="88808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400" dirty="0">
                    <a:solidFill>
                      <a:schemeClr val="bg1"/>
                    </a:solidFill>
                  </a:rPr>
                  <a:t>&lt; 1.000</a:t>
                </a:r>
              </a:p>
            </p:txBody>
          </p:sp>
          <p:sp>
            <p:nvSpPr>
              <p:cNvPr id="969" name="Textfeld 968">
                <a:extLst>
                  <a:ext uri="{FF2B5EF4-FFF2-40B4-BE49-F238E27FC236}">
                    <a16:creationId xmlns:a16="http://schemas.microsoft.com/office/drawing/2014/main" id="{DA154B23-8AA8-E64E-9621-70725EF5C137}"/>
                  </a:ext>
                </a:extLst>
              </p:cNvPr>
              <p:cNvSpPr txBox="1"/>
              <p:nvPr/>
            </p:nvSpPr>
            <p:spPr>
              <a:xfrm>
                <a:off x="12826571" y="1442889"/>
                <a:ext cx="1018948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cs-CZ" sz="700" dirty="0">
                    <a:solidFill>
                      <a:schemeClr val="bg1"/>
                    </a:solidFill>
                  </a:rPr>
                  <a:t>motohodin za rok</a:t>
                </a:r>
                <a:endParaRPr lang="de-DE" sz="700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E5056753-AC8F-B441-9B17-D4453E4C5049}"/>
              </a:ext>
            </a:extLst>
          </p:cNvPr>
          <p:cNvGrpSpPr/>
          <p:nvPr/>
        </p:nvGrpSpPr>
        <p:grpSpPr>
          <a:xfrm>
            <a:off x="6244162" y="3905724"/>
            <a:ext cx="810758" cy="773429"/>
            <a:chOff x="8225738" y="4539348"/>
            <a:chExt cx="810758" cy="773429"/>
          </a:xfrm>
        </p:grpSpPr>
        <p:grpSp>
          <p:nvGrpSpPr>
            <p:cNvPr id="970" name="Gruppieren 969">
              <a:extLst>
                <a:ext uri="{FF2B5EF4-FFF2-40B4-BE49-F238E27FC236}">
                  <a16:creationId xmlns:a16="http://schemas.microsoft.com/office/drawing/2014/main" id="{9A49B513-3E44-FF47-AD16-FA5A5AD7582D}"/>
                </a:ext>
              </a:extLst>
            </p:cNvPr>
            <p:cNvGrpSpPr/>
            <p:nvPr/>
          </p:nvGrpSpPr>
          <p:grpSpPr>
            <a:xfrm>
              <a:off x="8316416" y="4539348"/>
              <a:ext cx="558775" cy="415498"/>
              <a:chOff x="8067478" y="3893767"/>
              <a:chExt cx="768142" cy="571181"/>
            </a:xfrm>
            <a:solidFill>
              <a:srgbClr val="C11B1A"/>
            </a:solidFill>
          </p:grpSpPr>
          <p:sp>
            <p:nvSpPr>
              <p:cNvPr id="971" name="Freihandform 970">
                <a:extLst>
                  <a:ext uri="{FF2B5EF4-FFF2-40B4-BE49-F238E27FC236}">
                    <a16:creationId xmlns:a16="http://schemas.microsoft.com/office/drawing/2014/main" id="{B4216C20-2DDB-A146-9B2B-52FB6692F2AC}"/>
                  </a:ext>
                </a:extLst>
              </p:cNvPr>
              <p:cNvSpPr/>
              <p:nvPr/>
            </p:nvSpPr>
            <p:spPr>
              <a:xfrm>
                <a:off x="8728739" y="3893767"/>
                <a:ext cx="106881" cy="571021"/>
              </a:xfrm>
              <a:custGeom>
                <a:avLst/>
                <a:gdLst>
                  <a:gd name="connsiteX0" fmla="*/ 0 w 40876"/>
                  <a:gd name="connsiteY0" fmla="*/ 0 h 218384"/>
                  <a:gd name="connsiteX1" fmla="*/ 40877 w 40876"/>
                  <a:gd name="connsiteY1" fmla="*/ 0 h 218384"/>
                  <a:gd name="connsiteX2" fmla="*/ 40877 w 40876"/>
                  <a:gd name="connsiteY2" fmla="*/ 218385 h 218384"/>
                  <a:gd name="connsiteX3" fmla="*/ 0 w 40876"/>
                  <a:gd name="connsiteY3" fmla="*/ 218385 h 218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876" h="218384">
                    <a:moveTo>
                      <a:pt x="0" y="0"/>
                    </a:moveTo>
                    <a:lnTo>
                      <a:pt x="40877" y="0"/>
                    </a:lnTo>
                    <a:lnTo>
                      <a:pt x="40877" y="218385"/>
                    </a:lnTo>
                    <a:lnTo>
                      <a:pt x="0" y="218385"/>
                    </a:lnTo>
                    <a:close/>
                  </a:path>
                </a:pathLst>
              </a:custGeom>
              <a:noFill/>
              <a:ln w="12700" cap="flat">
                <a:solidFill>
                  <a:srgbClr val="00397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72" name="Freihandform 971">
                <a:extLst>
                  <a:ext uri="{FF2B5EF4-FFF2-40B4-BE49-F238E27FC236}">
                    <a16:creationId xmlns:a16="http://schemas.microsoft.com/office/drawing/2014/main" id="{974B7B65-8FDD-A642-84E6-672C5E513897}"/>
                  </a:ext>
                </a:extLst>
              </p:cNvPr>
              <p:cNvSpPr/>
              <p:nvPr/>
            </p:nvSpPr>
            <p:spPr>
              <a:xfrm>
                <a:off x="8563384" y="3945518"/>
                <a:ext cx="106881" cy="519269"/>
              </a:xfrm>
              <a:custGeom>
                <a:avLst/>
                <a:gdLst>
                  <a:gd name="connsiteX0" fmla="*/ 0 w 40876"/>
                  <a:gd name="connsiteY0" fmla="*/ 0 h 198592"/>
                  <a:gd name="connsiteX1" fmla="*/ 40876 w 40876"/>
                  <a:gd name="connsiteY1" fmla="*/ 0 h 198592"/>
                  <a:gd name="connsiteX2" fmla="*/ 40876 w 40876"/>
                  <a:gd name="connsiteY2" fmla="*/ 198593 h 198592"/>
                  <a:gd name="connsiteX3" fmla="*/ 0 w 40876"/>
                  <a:gd name="connsiteY3" fmla="*/ 198593 h 198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876" h="198592">
                    <a:moveTo>
                      <a:pt x="0" y="0"/>
                    </a:moveTo>
                    <a:lnTo>
                      <a:pt x="40876" y="0"/>
                    </a:lnTo>
                    <a:lnTo>
                      <a:pt x="40876" y="198593"/>
                    </a:lnTo>
                    <a:lnTo>
                      <a:pt x="0" y="198593"/>
                    </a:lnTo>
                    <a:close/>
                  </a:path>
                </a:pathLst>
              </a:custGeom>
              <a:noFill/>
              <a:ln w="12700" cap="flat">
                <a:solidFill>
                  <a:srgbClr val="00397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73" name="Freihandform 972">
                <a:extLst>
                  <a:ext uri="{FF2B5EF4-FFF2-40B4-BE49-F238E27FC236}">
                    <a16:creationId xmlns:a16="http://schemas.microsoft.com/office/drawing/2014/main" id="{97BDBA06-CF5F-C141-8032-57D5FCFA7367}"/>
                  </a:ext>
                </a:extLst>
              </p:cNvPr>
              <p:cNvSpPr/>
              <p:nvPr/>
            </p:nvSpPr>
            <p:spPr>
              <a:xfrm>
                <a:off x="8398027" y="4045828"/>
                <a:ext cx="106881" cy="419120"/>
              </a:xfrm>
              <a:custGeom>
                <a:avLst/>
                <a:gdLst>
                  <a:gd name="connsiteX0" fmla="*/ 0 w 40876"/>
                  <a:gd name="connsiteY0" fmla="*/ 0 h 160291"/>
                  <a:gd name="connsiteX1" fmla="*/ 40877 w 40876"/>
                  <a:gd name="connsiteY1" fmla="*/ 0 h 160291"/>
                  <a:gd name="connsiteX2" fmla="*/ 40877 w 40876"/>
                  <a:gd name="connsiteY2" fmla="*/ 160291 h 160291"/>
                  <a:gd name="connsiteX3" fmla="*/ 0 w 40876"/>
                  <a:gd name="connsiteY3" fmla="*/ 160291 h 160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876" h="160291">
                    <a:moveTo>
                      <a:pt x="0" y="0"/>
                    </a:moveTo>
                    <a:lnTo>
                      <a:pt x="40877" y="0"/>
                    </a:lnTo>
                    <a:lnTo>
                      <a:pt x="40877" y="160291"/>
                    </a:lnTo>
                    <a:lnTo>
                      <a:pt x="0" y="160291"/>
                    </a:lnTo>
                    <a:close/>
                  </a:path>
                </a:pathLst>
              </a:custGeom>
              <a:noFill/>
              <a:ln w="12700" cap="flat">
                <a:solidFill>
                  <a:srgbClr val="00397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74" name="Freihandform 973">
                <a:extLst>
                  <a:ext uri="{FF2B5EF4-FFF2-40B4-BE49-F238E27FC236}">
                    <a16:creationId xmlns:a16="http://schemas.microsoft.com/office/drawing/2014/main" id="{6F43E2C7-1544-E54B-879E-28CF3BECEAF2}"/>
                  </a:ext>
                </a:extLst>
              </p:cNvPr>
              <p:cNvSpPr/>
              <p:nvPr/>
            </p:nvSpPr>
            <p:spPr>
              <a:xfrm>
                <a:off x="8232832" y="4142621"/>
                <a:ext cx="106881" cy="322165"/>
              </a:xfrm>
              <a:custGeom>
                <a:avLst/>
                <a:gdLst>
                  <a:gd name="connsiteX0" fmla="*/ 0 w 40876"/>
                  <a:gd name="connsiteY0" fmla="*/ 0 h 123211"/>
                  <a:gd name="connsiteX1" fmla="*/ 40876 w 40876"/>
                  <a:gd name="connsiteY1" fmla="*/ 0 h 123211"/>
                  <a:gd name="connsiteX2" fmla="*/ 40876 w 40876"/>
                  <a:gd name="connsiteY2" fmla="*/ 123212 h 123211"/>
                  <a:gd name="connsiteX3" fmla="*/ 0 w 40876"/>
                  <a:gd name="connsiteY3" fmla="*/ 123212 h 123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876" h="123211">
                    <a:moveTo>
                      <a:pt x="0" y="0"/>
                    </a:moveTo>
                    <a:lnTo>
                      <a:pt x="40876" y="0"/>
                    </a:lnTo>
                    <a:lnTo>
                      <a:pt x="40876" y="123212"/>
                    </a:lnTo>
                    <a:lnTo>
                      <a:pt x="0" y="123212"/>
                    </a:lnTo>
                    <a:close/>
                  </a:path>
                </a:pathLst>
              </a:custGeom>
              <a:noFill/>
              <a:ln w="12700" cap="flat">
                <a:solidFill>
                  <a:srgbClr val="00397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75" name="Freihandform 974">
                <a:extLst>
                  <a:ext uri="{FF2B5EF4-FFF2-40B4-BE49-F238E27FC236}">
                    <a16:creationId xmlns:a16="http://schemas.microsoft.com/office/drawing/2014/main" id="{3A220A31-7507-4C4B-8046-D7E529627767}"/>
                  </a:ext>
                </a:extLst>
              </p:cNvPr>
              <p:cNvSpPr/>
              <p:nvPr/>
            </p:nvSpPr>
            <p:spPr>
              <a:xfrm>
                <a:off x="8067478" y="4247721"/>
                <a:ext cx="106881" cy="217066"/>
              </a:xfrm>
              <a:custGeom>
                <a:avLst/>
                <a:gdLst>
                  <a:gd name="connsiteX0" fmla="*/ 0 w 40876"/>
                  <a:gd name="connsiteY0" fmla="*/ 0 h 83016"/>
                  <a:gd name="connsiteX1" fmla="*/ 40877 w 40876"/>
                  <a:gd name="connsiteY1" fmla="*/ 0 h 83016"/>
                  <a:gd name="connsiteX2" fmla="*/ 40877 w 40876"/>
                  <a:gd name="connsiteY2" fmla="*/ 83017 h 83016"/>
                  <a:gd name="connsiteX3" fmla="*/ 0 w 40876"/>
                  <a:gd name="connsiteY3" fmla="*/ 83017 h 83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876" h="83016">
                    <a:moveTo>
                      <a:pt x="0" y="0"/>
                    </a:moveTo>
                    <a:lnTo>
                      <a:pt x="40877" y="0"/>
                    </a:lnTo>
                    <a:lnTo>
                      <a:pt x="40877" y="83017"/>
                    </a:lnTo>
                    <a:lnTo>
                      <a:pt x="0" y="83017"/>
                    </a:lnTo>
                    <a:close/>
                  </a:path>
                </a:pathLst>
              </a:custGeom>
              <a:solidFill>
                <a:srgbClr val="00397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976" name="Textfeld 975">
              <a:extLst>
                <a:ext uri="{FF2B5EF4-FFF2-40B4-BE49-F238E27FC236}">
                  <a16:creationId xmlns:a16="http://schemas.microsoft.com/office/drawing/2014/main" id="{23FA1EA8-30AE-D843-9801-8564B022C85E}"/>
                </a:ext>
              </a:extLst>
            </p:cNvPr>
            <p:cNvSpPr txBox="1"/>
            <p:nvPr/>
          </p:nvSpPr>
          <p:spPr>
            <a:xfrm>
              <a:off x="8225738" y="4974223"/>
              <a:ext cx="81075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800" dirty="0">
                  <a:solidFill>
                    <a:srgbClr val="003971"/>
                  </a:solidFill>
                </a:rPr>
                <a:t>NÍZKÁ INTENZITA</a:t>
              </a:r>
              <a:endParaRPr lang="de-DE" sz="800" dirty="0">
                <a:solidFill>
                  <a:srgbClr val="003971"/>
                </a:solidFill>
              </a:endParaRPr>
            </a:p>
          </p:txBody>
        </p:sp>
      </p:grp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85596ADB-FE50-1942-A06E-6841F05B9DC1}"/>
              </a:ext>
            </a:extLst>
          </p:cNvPr>
          <p:cNvGrpSpPr/>
          <p:nvPr/>
        </p:nvGrpSpPr>
        <p:grpSpPr>
          <a:xfrm>
            <a:off x="107505" y="4265477"/>
            <a:ext cx="2802074" cy="765298"/>
            <a:chOff x="107505" y="3937577"/>
            <a:chExt cx="2802074" cy="765298"/>
          </a:xfrm>
        </p:grpSpPr>
        <p:grpSp>
          <p:nvGrpSpPr>
            <p:cNvPr id="600" name="Gruppieren 599">
              <a:extLst>
                <a:ext uri="{FF2B5EF4-FFF2-40B4-BE49-F238E27FC236}">
                  <a16:creationId xmlns:a16="http://schemas.microsoft.com/office/drawing/2014/main" id="{78B3BF9A-1AA3-5E49-999B-19D6C0468A6B}"/>
                </a:ext>
              </a:extLst>
            </p:cNvPr>
            <p:cNvGrpSpPr/>
            <p:nvPr/>
          </p:nvGrpSpPr>
          <p:grpSpPr>
            <a:xfrm>
              <a:off x="282882" y="3999185"/>
              <a:ext cx="349682" cy="358971"/>
              <a:chOff x="5372344" y="2846519"/>
              <a:chExt cx="527325" cy="541333"/>
            </a:xfrm>
          </p:grpSpPr>
          <p:sp>
            <p:nvSpPr>
              <p:cNvPr id="601" name="Freihandform 600">
                <a:extLst>
                  <a:ext uri="{FF2B5EF4-FFF2-40B4-BE49-F238E27FC236}">
                    <a16:creationId xmlns:a16="http://schemas.microsoft.com/office/drawing/2014/main" id="{1408AA3E-F88E-7E41-ACA7-2571527FF224}"/>
                  </a:ext>
                </a:extLst>
              </p:cNvPr>
              <p:cNvSpPr/>
              <p:nvPr/>
            </p:nvSpPr>
            <p:spPr>
              <a:xfrm>
                <a:off x="5507634" y="2847178"/>
                <a:ext cx="392035" cy="540674"/>
              </a:xfrm>
              <a:custGeom>
                <a:avLst/>
                <a:gdLst>
                  <a:gd name="connsiteX0" fmla="*/ 149922 w 149932"/>
                  <a:gd name="connsiteY0" fmla="*/ 103298 h 206778"/>
                  <a:gd name="connsiteX1" fmla="*/ 49247 w 149932"/>
                  <a:gd name="connsiteY1" fmla="*/ 206778 h 206778"/>
                  <a:gd name="connsiteX2" fmla="*/ 49106 w 149932"/>
                  <a:gd name="connsiteY2" fmla="*/ 206778 h 206778"/>
                  <a:gd name="connsiteX3" fmla="*/ 25338 w 149932"/>
                  <a:gd name="connsiteY3" fmla="*/ 203846 h 206778"/>
                  <a:gd name="connsiteX4" fmla="*/ 32548 w 149932"/>
                  <a:gd name="connsiteY4" fmla="*/ 205373 h 206778"/>
                  <a:gd name="connsiteX5" fmla="*/ 38658 w 149932"/>
                  <a:gd name="connsiteY5" fmla="*/ 206229 h 206778"/>
                  <a:gd name="connsiteX6" fmla="*/ 39758 w 149932"/>
                  <a:gd name="connsiteY6" fmla="*/ 206229 h 206778"/>
                  <a:gd name="connsiteX7" fmla="*/ 14951 w 149932"/>
                  <a:gd name="connsiteY7" fmla="*/ 192240 h 206778"/>
                  <a:gd name="connsiteX8" fmla="*/ 15513 w 149932"/>
                  <a:gd name="connsiteY8" fmla="*/ 118722 h 206778"/>
                  <a:gd name="connsiteX9" fmla="*/ 23321 w 149932"/>
                  <a:gd name="connsiteY9" fmla="*/ 112399 h 206778"/>
                  <a:gd name="connsiteX10" fmla="*/ 50084 w 149932"/>
                  <a:gd name="connsiteY10" fmla="*/ 104275 h 206778"/>
                  <a:gd name="connsiteX11" fmla="*/ 83934 w 149932"/>
                  <a:gd name="connsiteY11" fmla="*/ 89797 h 206778"/>
                  <a:gd name="connsiteX12" fmla="*/ 84318 w 149932"/>
                  <a:gd name="connsiteY12" fmla="*/ 14642 h 206778"/>
                  <a:gd name="connsiteX13" fmla="*/ 74524 w 149932"/>
                  <a:gd name="connsiteY13" fmla="*/ 6842 h 206778"/>
                  <a:gd name="connsiteX14" fmla="*/ 54605 w 149932"/>
                  <a:gd name="connsiteY14" fmla="*/ 0 h 206778"/>
                  <a:gd name="connsiteX15" fmla="*/ 149922 w 149932"/>
                  <a:gd name="connsiteY15" fmla="*/ 103359 h 206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49932" h="206778">
                    <a:moveTo>
                      <a:pt x="149922" y="103298"/>
                    </a:moveTo>
                    <a:cubicBezTo>
                      <a:pt x="150704" y="159668"/>
                      <a:pt x="105630" y="205997"/>
                      <a:pt x="49247" y="206778"/>
                    </a:cubicBezTo>
                    <a:cubicBezTo>
                      <a:pt x="49198" y="206778"/>
                      <a:pt x="49155" y="206778"/>
                      <a:pt x="49106" y="206778"/>
                    </a:cubicBezTo>
                    <a:cubicBezTo>
                      <a:pt x="41096" y="206772"/>
                      <a:pt x="33110" y="205789"/>
                      <a:pt x="25338" y="203846"/>
                    </a:cubicBezTo>
                    <a:cubicBezTo>
                      <a:pt x="27721" y="204457"/>
                      <a:pt x="30104" y="204946"/>
                      <a:pt x="32548" y="205373"/>
                    </a:cubicBezTo>
                    <a:lnTo>
                      <a:pt x="38658" y="206229"/>
                    </a:lnTo>
                    <a:lnTo>
                      <a:pt x="39758" y="206229"/>
                    </a:lnTo>
                    <a:cubicBezTo>
                      <a:pt x="30391" y="203852"/>
                      <a:pt x="21831" y="199020"/>
                      <a:pt x="14951" y="192240"/>
                    </a:cubicBezTo>
                    <a:cubicBezTo>
                      <a:pt x="-5200" y="171782"/>
                      <a:pt x="-4950" y="138868"/>
                      <a:pt x="15513" y="118722"/>
                    </a:cubicBezTo>
                    <a:cubicBezTo>
                      <a:pt x="17908" y="116370"/>
                      <a:pt x="20523" y="114250"/>
                      <a:pt x="23321" y="112399"/>
                    </a:cubicBezTo>
                    <a:cubicBezTo>
                      <a:pt x="31271" y="107164"/>
                      <a:pt x="40564" y="104342"/>
                      <a:pt x="50084" y="104275"/>
                    </a:cubicBezTo>
                    <a:cubicBezTo>
                      <a:pt x="62878" y="104312"/>
                      <a:pt x="75123" y="99076"/>
                      <a:pt x="83934" y="89797"/>
                    </a:cubicBezTo>
                    <a:cubicBezTo>
                      <a:pt x="104799" y="69150"/>
                      <a:pt x="104970" y="35497"/>
                      <a:pt x="84318" y="14642"/>
                    </a:cubicBezTo>
                    <a:cubicBezTo>
                      <a:pt x="81373" y="11661"/>
                      <a:pt x="78086" y="9047"/>
                      <a:pt x="74524" y="6842"/>
                    </a:cubicBezTo>
                    <a:cubicBezTo>
                      <a:pt x="68463" y="3140"/>
                      <a:pt x="61662" y="806"/>
                      <a:pt x="54605" y="0"/>
                    </a:cubicBezTo>
                    <a:cubicBezTo>
                      <a:pt x="108783" y="3690"/>
                      <a:pt x="150631" y="49071"/>
                      <a:pt x="149922" y="103359"/>
                    </a:cubicBezTo>
                  </a:path>
                </a:pathLst>
              </a:custGeom>
              <a:solidFill>
                <a:srgbClr val="FFDC9A"/>
              </a:solidFill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2" name="Freihandform 601">
                <a:extLst>
                  <a:ext uri="{FF2B5EF4-FFF2-40B4-BE49-F238E27FC236}">
                    <a16:creationId xmlns:a16="http://schemas.microsoft.com/office/drawing/2014/main" id="{56C475CF-2063-7D4F-AE86-8CD7C9E6BB9C}"/>
                  </a:ext>
                </a:extLst>
              </p:cNvPr>
              <p:cNvSpPr/>
              <p:nvPr/>
            </p:nvSpPr>
            <p:spPr>
              <a:xfrm>
                <a:off x="5372344" y="2846519"/>
                <a:ext cx="398379" cy="540755"/>
              </a:xfrm>
              <a:custGeom>
                <a:avLst/>
                <a:gdLst>
                  <a:gd name="connsiteX0" fmla="*/ 136469 w 152358"/>
                  <a:gd name="connsiteY0" fmla="*/ 90111 h 206809"/>
                  <a:gd name="connsiteX1" fmla="*/ 102680 w 152358"/>
                  <a:gd name="connsiteY1" fmla="*/ 104832 h 206809"/>
                  <a:gd name="connsiteX2" fmla="*/ 75857 w 152358"/>
                  <a:gd name="connsiteY2" fmla="*/ 112957 h 206809"/>
                  <a:gd name="connsiteX3" fmla="*/ 61223 w 152358"/>
                  <a:gd name="connsiteY3" fmla="*/ 185003 h 206809"/>
                  <a:gd name="connsiteX4" fmla="*/ 67547 w 152358"/>
                  <a:gd name="connsiteY4" fmla="*/ 192797 h 206809"/>
                  <a:gd name="connsiteX5" fmla="*/ 92354 w 152358"/>
                  <a:gd name="connsiteY5" fmla="*/ 206786 h 206809"/>
                  <a:gd name="connsiteX6" fmla="*/ 91254 w 152358"/>
                  <a:gd name="connsiteY6" fmla="*/ 206786 h 206809"/>
                  <a:gd name="connsiteX7" fmla="*/ 85144 w 152358"/>
                  <a:gd name="connsiteY7" fmla="*/ 205931 h 206809"/>
                  <a:gd name="connsiteX8" fmla="*/ 77934 w 152358"/>
                  <a:gd name="connsiteY8" fmla="*/ 204404 h 206809"/>
                  <a:gd name="connsiteX9" fmla="*/ 38280 w 152358"/>
                  <a:gd name="connsiteY9" fmla="*/ 184551 h 206809"/>
                  <a:gd name="connsiteX10" fmla="*/ 2047 w 152358"/>
                  <a:gd name="connsiteY10" fmla="*/ 84979 h 206809"/>
                  <a:gd name="connsiteX11" fmla="*/ 96264 w 152358"/>
                  <a:gd name="connsiteY11" fmla="*/ 252 h 206809"/>
                  <a:gd name="connsiteX12" fmla="*/ 106957 w 152358"/>
                  <a:gd name="connsiteY12" fmla="*/ 252 h 206809"/>
                  <a:gd name="connsiteX13" fmla="*/ 126876 w 152358"/>
                  <a:gd name="connsiteY13" fmla="*/ 7094 h 206809"/>
                  <a:gd name="connsiteX14" fmla="*/ 144546 w 152358"/>
                  <a:gd name="connsiteY14" fmla="*/ 80233 h 206809"/>
                  <a:gd name="connsiteX15" fmla="*/ 136713 w 152358"/>
                  <a:gd name="connsiteY15" fmla="*/ 90172 h 206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2358" h="206809">
                    <a:moveTo>
                      <a:pt x="136469" y="90111"/>
                    </a:moveTo>
                    <a:cubicBezTo>
                      <a:pt x="127713" y="99457"/>
                      <a:pt x="115487" y="104784"/>
                      <a:pt x="102680" y="104832"/>
                    </a:cubicBezTo>
                    <a:cubicBezTo>
                      <a:pt x="93142" y="104912"/>
                      <a:pt x="83830" y="107728"/>
                      <a:pt x="75857" y="112957"/>
                    </a:cubicBezTo>
                    <a:cubicBezTo>
                      <a:pt x="51917" y="128809"/>
                      <a:pt x="45361" y="161069"/>
                      <a:pt x="61223" y="185003"/>
                    </a:cubicBezTo>
                    <a:cubicBezTo>
                      <a:pt x="63074" y="187800"/>
                      <a:pt x="65195" y="190409"/>
                      <a:pt x="67547" y="192797"/>
                    </a:cubicBezTo>
                    <a:cubicBezTo>
                      <a:pt x="74427" y="199578"/>
                      <a:pt x="82987" y="204410"/>
                      <a:pt x="92354" y="206786"/>
                    </a:cubicBezTo>
                    <a:cubicBezTo>
                      <a:pt x="91987" y="206817"/>
                      <a:pt x="91621" y="206817"/>
                      <a:pt x="91254" y="206786"/>
                    </a:cubicBezTo>
                    <a:cubicBezTo>
                      <a:pt x="89115" y="206786"/>
                      <a:pt x="86977" y="206297"/>
                      <a:pt x="85144" y="205931"/>
                    </a:cubicBezTo>
                    <a:cubicBezTo>
                      <a:pt x="83311" y="205564"/>
                      <a:pt x="80317" y="205015"/>
                      <a:pt x="77934" y="204404"/>
                    </a:cubicBezTo>
                    <a:cubicBezTo>
                      <a:pt x="63319" y="201056"/>
                      <a:pt x="49718" y="194251"/>
                      <a:pt x="38280" y="184551"/>
                    </a:cubicBezTo>
                    <a:cubicBezTo>
                      <a:pt x="8426" y="160818"/>
                      <a:pt x="-5572" y="122340"/>
                      <a:pt x="2047" y="84979"/>
                    </a:cubicBezTo>
                    <a:cubicBezTo>
                      <a:pt x="9770" y="38181"/>
                      <a:pt x="48905" y="2989"/>
                      <a:pt x="96264" y="252"/>
                    </a:cubicBezTo>
                    <a:cubicBezTo>
                      <a:pt x="99820" y="-84"/>
                      <a:pt x="103401" y="-84"/>
                      <a:pt x="106957" y="252"/>
                    </a:cubicBezTo>
                    <a:cubicBezTo>
                      <a:pt x="114014" y="1058"/>
                      <a:pt x="120815" y="3392"/>
                      <a:pt x="126876" y="7094"/>
                    </a:cubicBezTo>
                    <a:cubicBezTo>
                      <a:pt x="151958" y="22414"/>
                      <a:pt x="159870" y="55157"/>
                      <a:pt x="144546" y="80233"/>
                    </a:cubicBezTo>
                    <a:cubicBezTo>
                      <a:pt x="142340" y="83849"/>
                      <a:pt x="139713" y="87184"/>
                      <a:pt x="136713" y="90172"/>
                    </a:cubicBezTo>
                  </a:path>
                </a:pathLst>
              </a:custGeom>
              <a:solidFill>
                <a:schemeClr val="tx1"/>
              </a:solidFill>
              <a:ln w="12700" cap="flat">
                <a:solidFill>
                  <a:schemeClr val="accent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603" name="Textfeld 602">
              <a:extLst>
                <a:ext uri="{FF2B5EF4-FFF2-40B4-BE49-F238E27FC236}">
                  <a16:creationId xmlns:a16="http://schemas.microsoft.com/office/drawing/2014/main" id="{8DC4366D-2D1B-BF49-8A5E-F46E4ADDA2A2}"/>
                </a:ext>
              </a:extLst>
            </p:cNvPr>
            <p:cNvSpPr txBox="1"/>
            <p:nvPr/>
          </p:nvSpPr>
          <p:spPr>
            <a:xfrm>
              <a:off x="107505" y="4395096"/>
              <a:ext cx="700756" cy="2862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36000" rIns="36000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cs-CZ" sz="700" dirty="0"/>
                <a:t>Černá</a:t>
              </a:r>
              <a:r>
                <a:rPr lang="de-DE" sz="700" dirty="0"/>
                <a:t> &amp; </a:t>
              </a:r>
              <a:r>
                <a:rPr lang="cs-CZ" sz="700" dirty="0"/>
                <a:t>nešpinící</a:t>
              </a:r>
              <a:r>
                <a:rPr lang="de-DE" sz="700" dirty="0"/>
                <a:t> </a:t>
              </a:r>
              <a:r>
                <a:rPr lang="cs-CZ" sz="700" dirty="0"/>
                <a:t>verze</a:t>
              </a:r>
              <a:endParaRPr lang="de-DE" sz="700" dirty="0"/>
            </a:p>
          </p:txBody>
        </p:sp>
        <p:sp>
          <p:nvSpPr>
            <p:cNvPr id="613" name="Textfeld 612">
              <a:extLst>
                <a:ext uri="{FF2B5EF4-FFF2-40B4-BE49-F238E27FC236}">
                  <a16:creationId xmlns:a16="http://schemas.microsoft.com/office/drawing/2014/main" id="{265A664D-5CC2-E140-8516-BBD012BFD1A4}"/>
                </a:ext>
              </a:extLst>
            </p:cNvPr>
            <p:cNvSpPr txBox="1"/>
            <p:nvPr/>
          </p:nvSpPr>
          <p:spPr>
            <a:xfrm>
              <a:off x="719412" y="4395098"/>
              <a:ext cx="594814" cy="2862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 algn="ctr">
                <a:lnSpc>
                  <a:spcPct val="90000"/>
                </a:lnSpc>
                <a:defRPr sz="700">
                  <a:latin typeface="Continental Stag Sans Book" panose="020B0503040000020004" pitchFamily="34" charset="77"/>
                </a:defRPr>
              </a:lvl1pPr>
            </a:lstStyle>
            <a:p>
              <a:r>
                <a:rPr lang="cs-CZ" dirty="0">
                  <a:latin typeface="+mn-lt"/>
                </a:rPr>
                <a:t>Vysoká rychlost</a:t>
              </a:r>
              <a:endParaRPr lang="de-DE" dirty="0">
                <a:latin typeface="+mn-lt"/>
              </a:endParaRPr>
            </a:p>
          </p:txBody>
        </p:sp>
        <p:grpSp>
          <p:nvGrpSpPr>
            <p:cNvPr id="614" name="Gruppieren 613">
              <a:extLst>
                <a:ext uri="{FF2B5EF4-FFF2-40B4-BE49-F238E27FC236}">
                  <a16:creationId xmlns:a16="http://schemas.microsoft.com/office/drawing/2014/main" id="{FCF904A0-7254-1E43-8715-E72172863D89}"/>
                </a:ext>
              </a:extLst>
            </p:cNvPr>
            <p:cNvGrpSpPr/>
            <p:nvPr/>
          </p:nvGrpSpPr>
          <p:grpSpPr>
            <a:xfrm>
              <a:off x="1352811" y="3983909"/>
              <a:ext cx="414879" cy="382494"/>
              <a:chOff x="6790189" y="2863019"/>
              <a:chExt cx="621937" cy="573392"/>
            </a:xfrm>
          </p:grpSpPr>
          <p:sp>
            <p:nvSpPr>
              <p:cNvPr id="615" name="Freihandform 614">
                <a:extLst>
                  <a:ext uri="{FF2B5EF4-FFF2-40B4-BE49-F238E27FC236}">
                    <a16:creationId xmlns:a16="http://schemas.microsoft.com/office/drawing/2014/main" id="{7AF1E461-933D-C047-9D1A-5C2445317CC9}"/>
                  </a:ext>
                </a:extLst>
              </p:cNvPr>
              <p:cNvSpPr/>
              <p:nvPr/>
            </p:nvSpPr>
            <p:spPr>
              <a:xfrm>
                <a:off x="6798295" y="2871237"/>
                <a:ext cx="505829" cy="554979"/>
              </a:xfrm>
              <a:custGeom>
                <a:avLst/>
                <a:gdLst>
                  <a:gd name="connsiteX0" fmla="*/ 57259 w 193452"/>
                  <a:gd name="connsiteY0" fmla="*/ 10896 h 212249"/>
                  <a:gd name="connsiteX1" fmla="*/ 10639 w 193452"/>
                  <a:gd name="connsiteY1" fmla="*/ 153167 h 212249"/>
                  <a:gd name="connsiteX2" fmla="*/ 144151 w 193452"/>
                  <a:gd name="connsiteY2" fmla="*/ 203179 h 212249"/>
                  <a:gd name="connsiteX3" fmla="*/ 147688 w 193452"/>
                  <a:gd name="connsiteY3" fmla="*/ 201487 h 212249"/>
                  <a:gd name="connsiteX4" fmla="*/ 186610 w 193452"/>
                  <a:gd name="connsiteY4" fmla="*/ 166667 h 212249"/>
                  <a:gd name="connsiteX5" fmla="*/ 193453 w 193452"/>
                  <a:gd name="connsiteY5" fmla="*/ 154756 h 212249"/>
                  <a:gd name="connsiteX6" fmla="*/ 187343 w 193452"/>
                  <a:gd name="connsiteY6" fmla="*/ 154756 h 212249"/>
                  <a:gd name="connsiteX7" fmla="*/ 183127 w 193452"/>
                  <a:gd name="connsiteY7" fmla="*/ 161780 h 212249"/>
                  <a:gd name="connsiteX8" fmla="*/ 145427 w 193452"/>
                  <a:gd name="connsiteY8" fmla="*/ 196233 h 212249"/>
                  <a:gd name="connsiteX9" fmla="*/ 17354 w 193452"/>
                  <a:gd name="connsiteY9" fmla="*/ 153925 h 212249"/>
                  <a:gd name="connsiteX10" fmla="*/ 15649 w 193452"/>
                  <a:gd name="connsiteY10" fmla="*/ 150357 h 212249"/>
                  <a:gd name="connsiteX11" fmla="*/ 59703 w 193452"/>
                  <a:gd name="connsiteY11" fmla="*/ 15967 h 212249"/>
                  <a:gd name="connsiteX12" fmla="*/ 180744 w 193452"/>
                  <a:gd name="connsiteY12" fmla="*/ 46999 h 212249"/>
                  <a:gd name="connsiteX13" fmla="*/ 185815 w 193452"/>
                  <a:gd name="connsiteY13" fmla="*/ 44433 h 212249"/>
                  <a:gd name="connsiteX14" fmla="*/ 57503 w 193452"/>
                  <a:gd name="connsiteY14" fmla="*/ 10713 h 212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3452" h="212249">
                    <a:moveTo>
                      <a:pt x="57259" y="10896"/>
                    </a:moveTo>
                    <a:cubicBezTo>
                      <a:pt x="6160" y="38220"/>
                      <a:pt x="-14382" y="100908"/>
                      <a:pt x="10639" y="153167"/>
                    </a:cubicBezTo>
                    <a:cubicBezTo>
                      <a:pt x="33692" y="203839"/>
                      <a:pt x="93467" y="226227"/>
                      <a:pt x="144151" y="203179"/>
                    </a:cubicBezTo>
                    <a:cubicBezTo>
                      <a:pt x="145342" y="202635"/>
                      <a:pt x="146521" y="202073"/>
                      <a:pt x="147688" y="201487"/>
                    </a:cubicBezTo>
                    <a:cubicBezTo>
                      <a:pt x="163434" y="193411"/>
                      <a:pt x="176840" y="181420"/>
                      <a:pt x="186610" y="166667"/>
                    </a:cubicBezTo>
                    <a:cubicBezTo>
                      <a:pt x="189127" y="162837"/>
                      <a:pt x="191412" y="158861"/>
                      <a:pt x="193453" y="154756"/>
                    </a:cubicBezTo>
                    <a:lnTo>
                      <a:pt x="187343" y="154756"/>
                    </a:lnTo>
                    <a:cubicBezTo>
                      <a:pt x="186121" y="157077"/>
                      <a:pt x="184593" y="159581"/>
                      <a:pt x="183127" y="161780"/>
                    </a:cubicBezTo>
                    <a:cubicBezTo>
                      <a:pt x="173852" y="176417"/>
                      <a:pt x="160837" y="188310"/>
                      <a:pt x="145427" y="196233"/>
                    </a:cubicBezTo>
                    <a:cubicBezTo>
                      <a:pt x="98374" y="219911"/>
                      <a:pt x="41031" y="200968"/>
                      <a:pt x="17354" y="153925"/>
                    </a:cubicBezTo>
                    <a:cubicBezTo>
                      <a:pt x="16761" y="152746"/>
                      <a:pt x="16193" y="151555"/>
                      <a:pt x="15649" y="150357"/>
                    </a:cubicBezTo>
                    <a:cubicBezTo>
                      <a:pt x="-7978" y="100993"/>
                      <a:pt x="11433" y="41776"/>
                      <a:pt x="59703" y="15967"/>
                    </a:cubicBezTo>
                    <a:cubicBezTo>
                      <a:pt x="102119" y="-5573"/>
                      <a:pt x="153933" y="7714"/>
                      <a:pt x="180744" y="46999"/>
                    </a:cubicBezTo>
                    <a:lnTo>
                      <a:pt x="185815" y="44433"/>
                    </a:lnTo>
                    <a:cubicBezTo>
                      <a:pt x="157678" y="2442"/>
                      <a:pt x="102657" y="-12017"/>
                      <a:pt x="57503" y="10713"/>
                    </a:cubicBezTo>
                  </a:path>
                </a:pathLst>
              </a:custGeom>
              <a:solidFill>
                <a:srgbClr val="F7A700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6" name="Freihandform 615">
                <a:extLst>
                  <a:ext uri="{FF2B5EF4-FFF2-40B4-BE49-F238E27FC236}">
                    <a16:creationId xmlns:a16="http://schemas.microsoft.com/office/drawing/2014/main" id="{8C2BC6A5-0AC6-C544-A147-335D620832FC}"/>
                  </a:ext>
                </a:extLst>
              </p:cNvPr>
              <p:cNvSpPr/>
              <p:nvPr/>
            </p:nvSpPr>
            <p:spPr>
              <a:xfrm>
                <a:off x="6790189" y="2863019"/>
                <a:ext cx="528154" cy="573392"/>
              </a:xfrm>
              <a:custGeom>
                <a:avLst/>
                <a:gdLst>
                  <a:gd name="connsiteX0" fmla="*/ 105756 w 201990"/>
                  <a:gd name="connsiteY0" fmla="*/ 218925 h 219291"/>
                  <a:gd name="connsiteX1" fmla="*/ 10867 w 201990"/>
                  <a:gd name="connsiteY1" fmla="*/ 157838 h 219291"/>
                  <a:gd name="connsiteX2" fmla="*/ 58892 w 201990"/>
                  <a:gd name="connsiteY2" fmla="*/ 11230 h 219291"/>
                  <a:gd name="connsiteX3" fmla="*/ 60297 w 201990"/>
                  <a:gd name="connsiteY3" fmla="*/ 14285 h 219291"/>
                  <a:gd name="connsiteX4" fmla="*/ 58892 w 201990"/>
                  <a:gd name="connsiteY4" fmla="*/ 11230 h 219291"/>
                  <a:gd name="connsiteX5" fmla="*/ 131847 w 201990"/>
                  <a:gd name="connsiteY5" fmla="*/ 3472 h 219291"/>
                  <a:gd name="connsiteX6" fmla="*/ 191542 w 201990"/>
                  <a:gd name="connsiteY6" fmla="*/ 46233 h 219291"/>
                  <a:gd name="connsiteX7" fmla="*/ 193742 w 201990"/>
                  <a:gd name="connsiteY7" fmla="*/ 49409 h 219291"/>
                  <a:gd name="connsiteX8" fmla="*/ 182866 w 201990"/>
                  <a:gd name="connsiteY8" fmla="*/ 55029 h 219291"/>
                  <a:gd name="connsiteX9" fmla="*/ 181277 w 201990"/>
                  <a:gd name="connsiteY9" fmla="*/ 52708 h 219291"/>
                  <a:gd name="connsiteX10" fmla="*/ 128425 w 201990"/>
                  <a:gd name="connsiteY10" fmla="*/ 15690 h 219291"/>
                  <a:gd name="connsiteX11" fmla="*/ 64208 w 201990"/>
                  <a:gd name="connsiteY11" fmla="*/ 22714 h 219291"/>
                  <a:gd name="connsiteX12" fmla="*/ 17038 w 201990"/>
                  <a:gd name="connsiteY12" fmla="*/ 78548 h 219291"/>
                  <a:gd name="connsiteX13" fmla="*/ 21682 w 201990"/>
                  <a:gd name="connsiteY13" fmla="*/ 152646 h 219291"/>
                  <a:gd name="connsiteX14" fmla="*/ 75512 w 201990"/>
                  <a:gd name="connsiteY14" fmla="*/ 201515 h 219291"/>
                  <a:gd name="connsiteX15" fmla="*/ 146877 w 201990"/>
                  <a:gd name="connsiteY15" fmla="*/ 196751 h 219291"/>
                  <a:gd name="connsiteX16" fmla="*/ 183538 w 201990"/>
                  <a:gd name="connsiteY16" fmla="*/ 163458 h 219291"/>
                  <a:gd name="connsiteX17" fmla="*/ 187632 w 201990"/>
                  <a:gd name="connsiteY17" fmla="*/ 156617 h 219291"/>
                  <a:gd name="connsiteX18" fmla="*/ 188548 w 201990"/>
                  <a:gd name="connsiteY18" fmla="*/ 154906 h 219291"/>
                  <a:gd name="connsiteX19" fmla="*/ 201990 w 201990"/>
                  <a:gd name="connsiteY19" fmla="*/ 154906 h 219291"/>
                  <a:gd name="connsiteX20" fmla="*/ 199607 w 201990"/>
                  <a:gd name="connsiteY20" fmla="*/ 159793 h 219291"/>
                  <a:gd name="connsiteX21" fmla="*/ 152438 w 201990"/>
                  <a:gd name="connsiteY21" fmla="*/ 207990 h 219291"/>
                  <a:gd name="connsiteX22" fmla="*/ 105940 w 201990"/>
                  <a:gd name="connsiteY22" fmla="*/ 219292 h 219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01990" h="219291">
                    <a:moveTo>
                      <a:pt x="105756" y="218925"/>
                    </a:moveTo>
                    <a:cubicBezTo>
                      <a:pt x="64966" y="218650"/>
                      <a:pt x="28000" y="194851"/>
                      <a:pt x="10867" y="157838"/>
                    </a:cubicBezTo>
                    <a:cubicBezTo>
                      <a:pt x="-14857" y="103654"/>
                      <a:pt x="6651" y="37803"/>
                      <a:pt x="58892" y="11230"/>
                    </a:cubicBezTo>
                    <a:lnTo>
                      <a:pt x="60297" y="14285"/>
                    </a:lnTo>
                    <a:lnTo>
                      <a:pt x="58892" y="11230"/>
                    </a:lnTo>
                    <a:cubicBezTo>
                      <a:pt x="81408" y="-303"/>
                      <a:pt x="107406" y="-3070"/>
                      <a:pt x="131847" y="3472"/>
                    </a:cubicBezTo>
                    <a:cubicBezTo>
                      <a:pt x="156214" y="10143"/>
                      <a:pt x="177391" y="25311"/>
                      <a:pt x="191542" y="46233"/>
                    </a:cubicBezTo>
                    <a:lnTo>
                      <a:pt x="193742" y="49409"/>
                    </a:lnTo>
                    <a:lnTo>
                      <a:pt x="182866" y="55029"/>
                    </a:lnTo>
                    <a:lnTo>
                      <a:pt x="181277" y="52708"/>
                    </a:lnTo>
                    <a:cubicBezTo>
                      <a:pt x="168568" y="34535"/>
                      <a:pt x="149853" y="21426"/>
                      <a:pt x="128425" y="15690"/>
                    </a:cubicBezTo>
                    <a:cubicBezTo>
                      <a:pt x="106887" y="10045"/>
                      <a:pt x="84017" y="12550"/>
                      <a:pt x="64208" y="22714"/>
                    </a:cubicBezTo>
                    <a:cubicBezTo>
                      <a:pt x="41698" y="34327"/>
                      <a:pt x="24724" y="54412"/>
                      <a:pt x="17038" y="78548"/>
                    </a:cubicBezTo>
                    <a:cubicBezTo>
                      <a:pt x="8961" y="102921"/>
                      <a:pt x="10623" y="129470"/>
                      <a:pt x="21682" y="152646"/>
                    </a:cubicBezTo>
                    <a:cubicBezTo>
                      <a:pt x="32326" y="175505"/>
                      <a:pt x="51731" y="193116"/>
                      <a:pt x="75512" y="201515"/>
                    </a:cubicBezTo>
                    <a:cubicBezTo>
                      <a:pt x="98932" y="209890"/>
                      <a:pt x="124777" y="208162"/>
                      <a:pt x="146877" y="196751"/>
                    </a:cubicBezTo>
                    <a:cubicBezTo>
                      <a:pt x="161847" y="189121"/>
                      <a:pt x="174507" y="177630"/>
                      <a:pt x="183538" y="163458"/>
                    </a:cubicBezTo>
                    <a:cubicBezTo>
                      <a:pt x="185310" y="160709"/>
                      <a:pt x="186654" y="158449"/>
                      <a:pt x="187632" y="156617"/>
                    </a:cubicBezTo>
                    <a:lnTo>
                      <a:pt x="188548" y="154906"/>
                    </a:lnTo>
                    <a:lnTo>
                      <a:pt x="201990" y="154906"/>
                    </a:lnTo>
                    <a:lnTo>
                      <a:pt x="199607" y="159793"/>
                    </a:lnTo>
                    <a:cubicBezTo>
                      <a:pt x="189416" y="180465"/>
                      <a:pt x="172888" y="197349"/>
                      <a:pt x="152438" y="207990"/>
                    </a:cubicBezTo>
                    <a:cubicBezTo>
                      <a:pt x="138054" y="215388"/>
                      <a:pt x="122113" y="219261"/>
                      <a:pt x="105940" y="219292"/>
                    </a:cubicBezTo>
                  </a:path>
                </a:pathLst>
              </a:custGeom>
              <a:solidFill>
                <a:schemeClr val="accent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7" name="Freihandform 616">
                <a:extLst>
                  <a:ext uri="{FF2B5EF4-FFF2-40B4-BE49-F238E27FC236}">
                    <a16:creationId xmlns:a16="http://schemas.microsoft.com/office/drawing/2014/main" id="{9683F71D-63B4-A341-9325-1FE0A7827D97}"/>
                  </a:ext>
                </a:extLst>
              </p:cNvPr>
              <p:cNvSpPr/>
              <p:nvPr/>
            </p:nvSpPr>
            <p:spPr>
              <a:xfrm>
                <a:off x="6894810" y="3071582"/>
                <a:ext cx="138673" cy="173473"/>
              </a:xfrm>
              <a:custGeom>
                <a:avLst/>
                <a:gdLst>
                  <a:gd name="connsiteX0" fmla="*/ 2383 w 53035"/>
                  <a:gd name="connsiteY0" fmla="*/ 54800 h 66344"/>
                  <a:gd name="connsiteX1" fmla="*/ 24196 w 53035"/>
                  <a:gd name="connsiteY1" fmla="*/ 37573 h 66344"/>
                  <a:gd name="connsiteX2" fmla="*/ 38677 w 53035"/>
                  <a:gd name="connsiteY2" fmla="*/ 17903 h 66344"/>
                  <a:gd name="connsiteX3" fmla="*/ 30184 w 53035"/>
                  <a:gd name="connsiteY3" fmla="*/ 10817 h 66344"/>
                  <a:gd name="connsiteX4" fmla="*/ 16436 w 53035"/>
                  <a:gd name="connsiteY4" fmla="*/ 15276 h 66344"/>
                  <a:gd name="connsiteX5" fmla="*/ 12037 w 53035"/>
                  <a:gd name="connsiteY5" fmla="*/ 15276 h 66344"/>
                  <a:gd name="connsiteX6" fmla="*/ 14359 w 53035"/>
                  <a:gd name="connsiteY6" fmla="*/ 4647 h 66344"/>
                  <a:gd name="connsiteX7" fmla="*/ 32689 w 53035"/>
                  <a:gd name="connsiteY7" fmla="*/ 5 h 66344"/>
                  <a:gd name="connsiteX8" fmla="*/ 53036 w 53035"/>
                  <a:gd name="connsiteY8" fmla="*/ 17414 h 66344"/>
                  <a:gd name="connsiteX9" fmla="*/ 33239 w 53035"/>
                  <a:gd name="connsiteY9" fmla="*/ 44232 h 66344"/>
                  <a:gd name="connsiteX10" fmla="*/ 19002 w 53035"/>
                  <a:gd name="connsiteY10" fmla="*/ 54861 h 66344"/>
                  <a:gd name="connsiteX11" fmla="*/ 46131 w 53035"/>
                  <a:gd name="connsiteY11" fmla="*/ 54861 h 66344"/>
                  <a:gd name="connsiteX12" fmla="*/ 43626 w 53035"/>
                  <a:gd name="connsiteY12" fmla="*/ 66345 h 66344"/>
                  <a:gd name="connsiteX13" fmla="*/ 0 w 53035"/>
                  <a:gd name="connsiteY13" fmla="*/ 66345 h 66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3035" h="66344">
                    <a:moveTo>
                      <a:pt x="2383" y="54800"/>
                    </a:moveTo>
                    <a:lnTo>
                      <a:pt x="24196" y="37573"/>
                    </a:lnTo>
                    <a:cubicBezTo>
                      <a:pt x="31345" y="31953"/>
                      <a:pt x="38677" y="25356"/>
                      <a:pt x="38677" y="17903"/>
                    </a:cubicBezTo>
                    <a:cubicBezTo>
                      <a:pt x="38677" y="13199"/>
                      <a:pt x="36049" y="10817"/>
                      <a:pt x="30184" y="10817"/>
                    </a:cubicBezTo>
                    <a:cubicBezTo>
                      <a:pt x="25284" y="11025"/>
                      <a:pt x="20530" y="12570"/>
                      <a:pt x="16436" y="15276"/>
                    </a:cubicBezTo>
                    <a:lnTo>
                      <a:pt x="12037" y="15276"/>
                    </a:lnTo>
                    <a:lnTo>
                      <a:pt x="14359" y="4647"/>
                    </a:lnTo>
                    <a:cubicBezTo>
                      <a:pt x="19949" y="1501"/>
                      <a:pt x="26273" y="-99"/>
                      <a:pt x="32689" y="5"/>
                    </a:cubicBezTo>
                    <a:cubicBezTo>
                      <a:pt x="44054" y="5"/>
                      <a:pt x="53036" y="5136"/>
                      <a:pt x="53036" y="17414"/>
                    </a:cubicBezTo>
                    <a:cubicBezTo>
                      <a:pt x="53036" y="27982"/>
                      <a:pt x="45153" y="35313"/>
                      <a:pt x="33239" y="44232"/>
                    </a:cubicBezTo>
                    <a:lnTo>
                      <a:pt x="19002" y="54861"/>
                    </a:lnTo>
                    <a:lnTo>
                      <a:pt x="46131" y="54861"/>
                    </a:lnTo>
                    <a:lnTo>
                      <a:pt x="43626" y="66345"/>
                    </a:lnTo>
                    <a:lnTo>
                      <a:pt x="0" y="66345"/>
                    </a:lnTo>
                    <a:close/>
                  </a:path>
                </a:pathLst>
              </a:custGeom>
              <a:solidFill>
                <a:schemeClr val="accent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8" name="Freihandform 617">
                <a:extLst>
                  <a:ext uri="{FF2B5EF4-FFF2-40B4-BE49-F238E27FC236}">
                    <a16:creationId xmlns:a16="http://schemas.microsoft.com/office/drawing/2014/main" id="{C3E3F696-E65D-674E-99B9-CB4436E8C2C2}"/>
                  </a:ext>
                </a:extLst>
              </p:cNvPr>
              <p:cNvSpPr/>
              <p:nvPr/>
            </p:nvSpPr>
            <p:spPr>
              <a:xfrm>
                <a:off x="7041953" y="3073511"/>
                <a:ext cx="136438" cy="171546"/>
              </a:xfrm>
              <a:custGeom>
                <a:avLst/>
                <a:gdLst>
                  <a:gd name="connsiteX0" fmla="*/ 29145 w 52180"/>
                  <a:gd name="connsiteY0" fmla="*/ 41478 h 65607"/>
                  <a:gd name="connsiteX1" fmla="*/ 34400 w 52180"/>
                  <a:gd name="connsiteY1" fmla="*/ 17898 h 65607"/>
                  <a:gd name="connsiteX2" fmla="*/ 34033 w 52180"/>
                  <a:gd name="connsiteY2" fmla="*/ 17898 h 65607"/>
                  <a:gd name="connsiteX3" fmla="*/ 13076 w 52180"/>
                  <a:gd name="connsiteY3" fmla="*/ 41111 h 65607"/>
                  <a:gd name="connsiteX4" fmla="*/ 13076 w 52180"/>
                  <a:gd name="connsiteY4" fmla="*/ 41478 h 65607"/>
                  <a:gd name="connsiteX5" fmla="*/ 26884 w 52180"/>
                  <a:gd name="connsiteY5" fmla="*/ 51740 h 65607"/>
                  <a:gd name="connsiteX6" fmla="*/ 0 w 52180"/>
                  <a:gd name="connsiteY6" fmla="*/ 51740 h 65607"/>
                  <a:gd name="connsiteX7" fmla="*/ 2688 w 52180"/>
                  <a:gd name="connsiteY7" fmla="*/ 39523 h 65607"/>
                  <a:gd name="connsiteX8" fmla="*/ 38799 w 52180"/>
                  <a:gd name="connsiteY8" fmla="*/ 0 h 65607"/>
                  <a:gd name="connsiteX9" fmla="*/ 52180 w 52180"/>
                  <a:gd name="connsiteY9" fmla="*/ 0 h 65607"/>
                  <a:gd name="connsiteX10" fmla="*/ 42771 w 52180"/>
                  <a:gd name="connsiteY10" fmla="*/ 41478 h 65607"/>
                  <a:gd name="connsiteX11" fmla="*/ 49492 w 52180"/>
                  <a:gd name="connsiteY11" fmla="*/ 41478 h 65607"/>
                  <a:gd name="connsiteX12" fmla="*/ 47231 w 52180"/>
                  <a:gd name="connsiteY12" fmla="*/ 51740 h 65607"/>
                  <a:gd name="connsiteX13" fmla="*/ 40510 w 52180"/>
                  <a:gd name="connsiteY13" fmla="*/ 51740 h 65607"/>
                  <a:gd name="connsiteX14" fmla="*/ 37455 w 52180"/>
                  <a:gd name="connsiteY14" fmla="*/ 65607 h 65607"/>
                  <a:gd name="connsiteX15" fmla="*/ 23829 w 52180"/>
                  <a:gd name="connsiteY15" fmla="*/ 65607 h 65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2180" h="65607">
                    <a:moveTo>
                      <a:pt x="29145" y="41478"/>
                    </a:moveTo>
                    <a:lnTo>
                      <a:pt x="34400" y="17898"/>
                    </a:lnTo>
                    <a:lnTo>
                      <a:pt x="34033" y="17898"/>
                    </a:lnTo>
                    <a:lnTo>
                      <a:pt x="13076" y="41111"/>
                    </a:lnTo>
                    <a:lnTo>
                      <a:pt x="13076" y="41478"/>
                    </a:lnTo>
                    <a:close/>
                    <a:moveTo>
                      <a:pt x="26884" y="51740"/>
                    </a:moveTo>
                    <a:lnTo>
                      <a:pt x="0" y="51740"/>
                    </a:lnTo>
                    <a:lnTo>
                      <a:pt x="2688" y="39523"/>
                    </a:lnTo>
                    <a:lnTo>
                      <a:pt x="38799" y="0"/>
                    </a:lnTo>
                    <a:lnTo>
                      <a:pt x="52180" y="0"/>
                    </a:lnTo>
                    <a:lnTo>
                      <a:pt x="42771" y="41478"/>
                    </a:lnTo>
                    <a:lnTo>
                      <a:pt x="49492" y="41478"/>
                    </a:lnTo>
                    <a:lnTo>
                      <a:pt x="47231" y="51740"/>
                    </a:lnTo>
                    <a:lnTo>
                      <a:pt x="40510" y="51740"/>
                    </a:lnTo>
                    <a:lnTo>
                      <a:pt x="37455" y="65607"/>
                    </a:lnTo>
                    <a:lnTo>
                      <a:pt x="23829" y="65607"/>
                    </a:lnTo>
                    <a:close/>
                  </a:path>
                </a:pathLst>
              </a:custGeom>
              <a:solidFill>
                <a:schemeClr val="accent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9" name="Freihandform 618">
                <a:extLst>
                  <a:ext uri="{FF2B5EF4-FFF2-40B4-BE49-F238E27FC236}">
                    <a16:creationId xmlns:a16="http://schemas.microsoft.com/office/drawing/2014/main" id="{AB52165E-D02E-E74F-A446-B687B5BBD6A5}"/>
                  </a:ext>
                </a:extLst>
              </p:cNvPr>
              <p:cNvSpPr/>
              <p:nvPr/>
            </p:nvSpPr>
            <p:spPr>
              <a:xfrm>
                <a:off x="7166410" y="3063450"/>
                <a:ext cx="117745" cy="193589"/>
              </a:xfrm>
              <a:custGeom>
                <a:avLst/>
                <a:gdLst>
                  <a:gd name="connsiteX0" fmla="*/ 0 w 45031"/>
                  <a:gd name="connsiteY0" fmla="*/ 71227 h 74037"/>
                  <a:gd name="connsiteX1" fmla="*/ 35194 w 45031"/>
                  <a:gd name="connsiteY1" fmla="*/ 0 h 74037"/>
                  <a:gd name="connsiteX2" fmla="*/ 45031 w 45031"/>
                  <a:gd name="connsiteY2" fmla="*/ 0 h 74037"/>
                  <a:gd name="connsiteX3" fmla="*/ 45031 w 45031"/>
                  <a:gd name="connsiteY3" fmla="*/ 2810 h 74037"/>
                  <a:gd name="connsiteX4" fmla="*/ 9715 w 45031"/>
                  <a:gd name="connsiteY4" fmla="*/ 74037 h 74037"/>
                  <a:gd name="connsiteX5" fmla="*/ 0 w 45031"/>
                  <a:gd name="connsiteY5" fmla="*/ 74037 h 74037"/>
                  <a:gd name="connsiteX6" fmla="*/ 0 w 45031"/>
                  <a:gd name="connsiteY6" fmla="*/ 71227 h 74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5031" h="74037">
                    <a:moveTo>
                      <a:pt x="0" y="71227"/>
                    </a:moveTo>
                    <a:lnTo>
                      <a:pt x="35194" y="0"/>
                    </a:lnTo>
                    <a:lnTo>
                      <a:pt x="45031" y="0"/>
                    </a:lnTo>
                    <a:lnTo>
                      <a:pt x="45031" y="2810"/>
                    </a:lnTo>
                    <a:lnTo>
                      <a:pt x="9715" y="74037"/>
                    </a:lnTo>
                    <a:lnTo>
                      <a:pt x="0" y="74037"/>
                    </a:lnTo>
                    <a:lnTo>
                      <a:pt x="0" y="71227"/>
                    </a:lnTo>
                    <a:close/>
                  </a:path>
                </a:pathLst>
              </a:custGeom>
              <a:solidFill>
                <a:schemeClr val="tx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0" name="Freihandform 619">
                <a:extLst>
                  <a:ext uri="{FF2B5EF4-FFF2-40B4-BE49-F238E27FC236}">
                    <a16:creationId xmlns:a16="http://schemas.microsoft.com/office/drawing/2014/main" id="{CE195F23-4028-E14A-AECE-175237FF2517}"/>
                  </a:ext>
                </a:extLst>
              </p:cNvPr>
              <p:cNvSpPr/>
              <p:nvPr/>
            </p:nvSpPr>
            <p:spPr>
              <a:xfrm>
                <a:off x="7287031" y="3073511"/>
                <a:ext cx="125095" cy="171546"/>
              </a:xfrm>
              <a:custGeom>
                <a:avLst/>
                <a:gdLst>
                  <a:gd name="connsiteX0" fmla="*/ 0 w 47842"/>
                  <a:gd name="connsiteY0" fmla="*/ 59865 h 65607"/>
                  <a:gd name="connsiteX1" fmla="*/ 34400 w 47842"/>
                  <a:gd name="connsiteY1" fmla="*/ 11790 h 65607"/>
                  <a:gd name="connsiteX2" fmla="*/ 34400 w 47842"/>
                  <a:gd name="connsiteY2" fmla="*/ 11423 h 65607"/>
                  <a:gd name="connsiteX3" fmla="*/ 2627 w 47842"/>
                  <a:gd name="connsiteY3" fmla="*/ 11423 h 65607"/>
                  <a:gd name="connsiteX4" fmla="*/ 5132 w 47842"/>
                  <a:gd name="connsiteY4" fmla="*/ 0 h 65607"/>
                  <a:gd name="connsiteX5" fmla="*/ 47842 w 47842"/>
                  <a:gd name="connsiteY5" fmla="*/ 0 h 65607"/>
                  <a:gd name="connsiteX6" fmla="*/ 45031 w 47842"/>
                  <a:gd name="connsiteY6" fmla="*/ 12462 h 65607"/>
                  <a:gd name="connsiteX7" fmla="*/ 13870 w 47842"/>
                  <a:gd name="connsiteY7" fmla="*/ 65607 h 65607"/>
                  <a:gd name="connsiteX8" fmla="*/ 0 w 47842"/>
                  <a:gd name="connsiteY8" fmla="*/ 65607 h 65607"/>
                  <a:gd name="connsiteX9" fmla="*/ 0 w 47842"/>
                  <a:gd name="connsiteY9" fmla="*/ 59865 h 65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7842" h="65607">
                    <a:moveTo>
                      <a:pt x="0" y="59865"/>
                    </a:moveTo>
                    <a:lnTo>
                      <a:pt x="34400" y="11790"/>
                    </a:lnTo>
                    <a:lnTo>
                      <a:pt x="34400" y="11423"/>
                    </a:lnTo>
                    <a:lnTo>
                      <a:pt x="2627" y="11423"/>
                    </a:lnTo>
                    <a:lnTo>
                      <a:pt x="5132" y="0"/>
                    </a:lnTo>
                    <a:lnTo>
                      <a:pt x="47842" y="0"/>
                    </a:lnTo>
                    <a:lnTo>
                      <a:pt x="45031" y="12462"/>
                    </a:lnTo>
                    <a:lnTo>
                      <a:pt x="13870" y="65607"/>
                    </a:lnTo>
                    <a:lnTo>
                      <a:pt x="0" y="65607"/>
                    </a:lnTo>
                    <a:lnTo>
                      <a:pt x="0" y="59865"/>
                    </a:lnTo>
                    <a:close/>
                  </a:path>
                </a:pathLst>
              </a:custGeom>
              <a:solidFill>
                <a:schemeClr val="accent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1" name="Freihandform 620">
                <a:extLst>
                  <a:ext uri="{FF2B5EF4-FFF2-40B4-BE49-F238E27FC236}">
                    <a16:creationId xmlns:a16="http://schemas.microsoft.com/office/drawing/2014/main" id="{A173C2EA-B0BD-2748-88B5-2E795FA97180}"/>
                  </a:ext>
                </a:extLst>
              </p:cNvPr>
              <p:cNvSpPr/>
              <p:nvPr/>
            </p:nvSpPr>
            <p:spPr>
              <a:xfrm>
                <a:off x="7251243" y="2966654"/>
                <a:ext cx="63104" cy="73631"/>
              </a:xfrm>
              <a:custGeom>
                <a:avLst/>
                <a:gdLst>
                  <a:gd name="connsiteX0" fmla="*/ 24135 w 24134"/>
                  <a:gd name="connsiteY0" fmla="*/ 28161 h 28160"/>
                  <a:gd name="connsiteX1" fmla="*/ 0 w 24134"/>
                  <a:gd name="connsiteY1" fmla="*/ 15211 h 28160"/>
                  <a:gd name="connsiteX2" fmla="*/ 22791 w 24134"/>
                  <a:gd name="connsiteY2" fmla="*/ 0 h 28160"/>
                  <a:gd name="connsiteX3" fmla="*/ 24135 w 24134"/>
                  <a:gd name="connsiteY3" fmla="*/ 28161 h 28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134" h="28160">
                    <a:moveTo>
                      <a:pt x="24135" y="28161"/>
                    </a:moveTo>
                    <a:lnTo>
                      <a:pt x="0" y="15211"/>
                    </a:lnTo>
                    <a:lnTo>
                      <a:pt x="22791" y="0"/>
                    </a:lnTo>
                    <a:lnTo>
                      <a:pt x="24135" y="28161"/>
                    </a:lnTo>
                    <a:close/>
                  </a:path>
                </a:pathLst>
              </a:custGeom>
              <a:solidFill>
                <a:srgbClr val="F7A700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622" name="Textfeld 621">
              <a:extLst>
                <a:ext uri="{FF2B5EF4-FFF2-40B4-BE49-F238E27FC236}">
                  <a16:creationId xmlns:a16="http://schemas.microsoft.com/office/drawing/2014/main" id="{B6297B56-E0F0-574D-A0D1-FE0E4BF77A70}"/>
                </a:ext>
              </a:extLst>
            </p:cNvPr>
            <p:cNvSpPr txBox="1"/>
            <p:nvPr/>
          </p:nvSpPr>
          <p:spPr>
            <a:xfrm>
              <a:off x="1253266" y="4395098"/>
              <a:ext cx="62436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700" dirty="0"/>
                <a:t>Nepřetržitý provoz</a:t>
              </a:r>
              <a:endParaRPr lang="de-DE" sz="700" dirty="0"/>
            </a:p>
          </p:txBody>
        </p:sp>
        <p:grpSp>
          <p:nvGrpSpPr>
            <p:cNvPr id="623" name="Gruppieren 622">
              <a:extLst>
                <a:ext uri="{FF2B5EF4-FFF2-40B4-BE49-F238E27FC236}">
                  <a16:creationId xmlns:a16="http://schemas.microsoft.com/office/drawing/2014/main" id="{E7134A3B-7F9A-B546-9013-B20227D9F738}"/>
                </a:ext>
              </a:extLst>
            </p:cNvPr>
            <p:cNvGrpSpPr/>
            <p:nvPr/>
          </p:nvGrpSpPr>
          <p:grpSpPr>
            <a:xfrm>
              <a:off x="1836508" y="3983909"/>
              <a:ext cx="425737" cy="399704"/>
              <a:chOff x="7423720" y="2753376"/>
              <a:chExt cx="731156" cy="686449"/>
            </a:xfrm>
          </p:grpSpPr>
          <p:sp>
            <p:nvSpPr>
              <p:cNvPr id="624" name="Freihandform 623">
                <a:extLst>
                  <a:ext uri="{FF2B5EF4-FFF2-40B4-BE49-F238E27FC236}">
                    <a16:creationId xmlns:a16="http://schemas.microsoft.com/office/drawing/2014/main" id="{B39093FE-8BBA-BC45-A0B4-9B58F52492E5}"/>
                  </a:ext>
                </a:extLst>
              </p:cNvPr>
              <p:cNvSpPr/>
              <p:nvPr/>
            </p:nvSpPr>
            <p:spPr>
              <a:xfrm>
                <a:off x="7558929" y="2753376"/>
                <a:ext cx="476293" cy="686449"/>
              </a:xfrm>
              <a:custGeom>
                <a:avLst/>
                <a:gdLst>
                  <a:gd name="connsiteX0" fmla="*/ 140478 w 182156"/>
                  <a:gd name="connsiteY0" fmla="*/ 4720 h 262529"/>
                  <a:gd name="connsiteX1" fmla="*/ 114205 w 182156"/>
                  <a:gd name="connsiteY1" fmla="*/ 104536 h 262529"/>
                  <a:gd name="connsiteX2" fmla="*/ 116887 w 182156"/>
                  <a:gd name="connsiteY2" fmla="*/ 109172 h 262529"/>
                  <a:gd name="connsiteX3" fmla="*/ 117871 w 182156"/>
                  <a:gd name="connsiteY3" fmla="*/ 109301 h 262529"/>
                  <a:gd name="connsiteX4" fmla="*/ 178605 w 182156"/>
                  <a:gd name="connsiteY4" fmla="*/ 109301 h 262529"/>
                  <a:gd name="connsiteX5" fmla="*/ 182149 w 182156"/>
                  <a:gd name="connsiteY5" fmla="*/ 113320 h 262529"/>
                  <a:gd name="connsiteX6" fmla="*/ 181355 w 182156"/>
                  <a:gd name="connsiteY6" fmla="*/ 115409 h 262529"/>
                  <a:gd name="connsiteX7" fmla="*/ 45222 w 182156"/>
                  <a:gd name="connsiteY7" fmla="*/ 261651 h 262529"/>
                  <a:gd name="connsiteX8" fmla="*/ 39888 w 182156"/>
                  <a:gd name="connsiteY8" fmla="*/ 261168 h 262529"/>
                  <a:gd name="connsiteX9" fmla="*/ 39112 w 182156"/>
                  <a:gd name="connsiteY9" fmla="*/ 257863 h 262529"/>
                  <a:gd name="connsiteX10" fmla="*/ 73206 w 182156"/>
                  <a:gd name="connsiteY10" fmla="*/ 157131 h 262529"/>
                  <a:gd name="connsiteX11" fmla="*/ 70695 w 182156"/>
                  <a:gd name="connsiteY11" fmla="*/ 152300 h 262529"/>
                  <a:gd name="connsiteX12" fmla="*/ 69601 w 182156"/>
                  <a:gd name="connsiteY12" fmla="*/ 152122 h 262529"/>
                  <a:gd name="connsiteX13" fmla="*/ 3551 w 182156"/>
                  <a:gd name="connsiteY13" fmla="*/ 152122 h 262529"/>
                  <a:gd name="connsiteX14" fmla="*/ 7 w 182156"/>
                  <a:gd name="connsiteY14" fmla="*/ 148103 h 262529"/>
                  <a:gd name="connsiteX15" fmla="*/ 802 w 182156"/>
                  <a:gd name="connsiteY15" fmla="*/ 146014 h 262529"/>
                  <a:gd name="connsiteX16" fmla="*/ 134063 w 182156"/>
                  <a:gd name="connsiteY16" fmla="*/ 1177 h 262529"/>
                  <a:gd name="connsiteX17" fmla="*/ 139421 w 182156"/>
                  <a:gd name="connsiteY17" fmla="*/ 1043 h 262529"/>
                  <a:gd name="connsiteX18" fmla="*/ 140478 w 182156"/>
                  <a:gd name="connsiteY18" fmla="*/ 4720 h 262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82156" h="262529">
                    <a:moveTo>
                      <a:pt x="140478" y="4720"/>
                    </a:moveTo>
                    <a:lnTo>
                      <a:pt x="114205" y="104536"/>
                    </a:lnTo>
                    <a:cubicBezTo>
                      <a:pt x="113667" y="106558"/>
                      <a:pt x="114865" y="108635"/>
                      <a:pt x="116887" y="109172"/>
                    </a:cubicBezTo>
                    <a:cubicBezTo>
                      <a:pt x="117211" y="109258"/>
                      <a:pt x="117541" y="109301"/>
                      <a:pt x="117871" y="109301"/>
                    </a:cubicBezTo>
                    <a:lnTo>
                      <a:pt x="178605" y="109301"/>
                    </a:lnTo>
                    <a:cubicBezTo>
                      <a:pt x="180695" y="109435"/>
                      <a:pt x="182277" y="111231"/>
                      <a:pt x="182149" y="113320"/>
                    </a:cubicBezTo>
                    <a:cubicBezTo>
                      <a:pt x="182100" y="114078"/>
                      <a:pt x="181825" y="114811"/>
                      <a:pt x="181355" y="115409"/>
                    </a:cubicBezTo>
                    <a:lnTo>
                      <a:pt x="45222" y="261651"/>
                    </a:lnTo>
                    <a:cubicBezTo>
                      <a:pt x="43615" y="262989"/>
                      <a:pt x="41226" y="262775"/>
                      <a:pt x="39888" y="261168"/>
                    </a:cubicBezTo>
                    <a:cubicBezTo>
                      <a:pt x="39124" y="260246"/>
                      <a:pt x="38837" y="259024"/>
                      <a:pt x="39112" y="257863"/>
                    </a:cubicBezTo>
                    <a:lnTo>
                      <a:pt x="73206" y="157131"/>
                    </a:lnTo>
                    <a:cubicBezTo>
                      <a:pt x="73848" y="155103"/>
                      <a:pt x="72723" y="152941"/>
                      <a:pt x="70695" y="152300"/>
                    </a:cubicBezTo>
                    <a:cubicBezTo>
                      <a:pt x="70341" y="152190"/>
                      <a:pt x="69974" y="152128"/>
                      <a:pt x="69601" y="152122"/>
                    </a:cubicBezTo>
                    <a:lnTo>
                      <a:pt x="3551" y="152122"/>
                    </a:lnTo>
                    <a:cubicBezTo>
                      <a:pt x="1462" y="151988"/>
                      <a:pt x="-121" y="150192"/>
                      <a:pt x="7" y="148103"/>
                    </a:cubicBezTo>
                    <a:cubicBezTo>
                      <a:pt x="56" y="147345"/>
                      <a:pt x="331" y="146612"/>
                      <a:pt x="802" y="146014"/>
                    </a:cubicBezTo>
                    <a:lnTo>
                      <a:pt x="134063" y="1177"/>
                    </a:lnTo>
                    <a:cubicBezTo>
                      <a:pt x="135505" y="-338"/>
                      <a:pt x="137906" y="-399"/>
                      <a:pt x="139421" y="1043"/>
                    </a:cubicBezTo>
                    <a:cubicBezTo>
                      <a:pt x="140411" y="1990"/>
                      <a:pt x="140814" y="3395"/>
                      <a:pt x="140478" y="4720"/>
                    </a:cubicBezTo>
                  </a:path>
                </a:pathLst>
              </a:custGeom>
              <a:solidFill>
                <a:schemeClr val="accent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5" name="Freihandform 624">
                <a:extLst>
                  <a:ext uri="{FF2B5EF4-FFF2-40B4-BE49-F238E27FC236}">
                    <a16:creationId xmlns:a16="http://schemas.microsoft.com/office/drawing/2014/main" id="{447F5D8C-867F-9246-8C39-5CCD2FF5A1D1}"/>
                  </a:ext>
                </a:extLst>
              </p:cNvPr>
              <p:cNvSpPr/>
              <p:nvPr/>
            </p:nvSpPr>
            <p:spPr>
              <a:xfrm>
                <a:off x="7423720" y="2823789"/>
                <a:ext cx="731156" cy="573646"/>
              </a:xfrm>
              <a:custGeom>
                <a:avLst/>
                <a:gdLst>
                  <a:gd name="connsiteX0" fmla="*/ 271192 w 279627"/>
                  <a:gd name="connsiteY0" fmla="*/ 219389 h 219388"/>
                  <a:gd name="connsiteX1" fmla="*/ 266059 w 279627"/>
                  <a:gd name="connsiteY1" fmla="*/ 217617 h 219388"/>
                  <a:gd name="connsiteX2" fmla="*/ 3326 w 279627"/>
                  <a:gd name="connsiteY2" fmla="*/ 15176 h 219388"/>
                  <a:gd name="connsiteX3" fmla="*/ 1737 w 279627"/>
                  <a:gd name="connsiteY3" fmla="*/ 3325 h 219388"/>
                  <a:gd name="connsiteX4" fmla="*/ 13591 w 279627"/>
                  <a:gd name="connsiteY4" fmla="*/ 1737 h 219388"/>
                  <a:gd name="connsiteX5" fmla="*/ 276324 w 279627"/>
                  <a:gd name="connsiteY5" fmla="*/ 204178 h 219388"/>
                  <a:gd name="connsiteX6" fmla="*/ 277852 w 279627"/>
                  <a:gd name="connsiteY6" fmla="*/ 216090 h 219388"/>
                  <a:gd name="connsiteX7" fmla="*/ 271192 w 279627"/>
                  <a:gd name="connsiteY7" fmla="*/ 219389 h 219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9627" h="219388">
                    <a:moveTo>
                      <a:pt x="271192" y="219389"/>
                    </a:moveTo>
                    <a:cubicBezTo>
                      <a:pt x="269328" y="219401"/>
                      <a:pt x="267520" y="218772"/>
                      <a:pt x="266059" y="217617"/>
                    </a:cubicBezTo>
                    <a:lnTo>
                      <a:pt x="3326" y="15176"/>
                    </a:lnTo>
                    <a:cubicBezTo>
                      <a:pt x="-389" y="12341"/>
                      <a:pt x="-1098" y="7039"/>
                      <a:pt x="1737" y="3325"/>
                    </a:cubicBezTo>
                    <a:cubicBezTo>
                      <a:pt x="4572" y="-389"/>
                      <a:pt x="9876" y="-1098"/>
                      <a:pt x="13591" y="1737"/>
                    </a:cubicBezTo>
                    <a:lnTo>
                      <a:pt x="276324" y="204178"/>
                    </a:lnTo>
                    <a:cubicBezTo>
                      <a:pt x="280039" y="207043"/>
                      <a:pt x="280724" y="212376"/>
                      <a:pt x="277852" y="216090"/>
                    </a:cubicBezTo>
                    <a:cubicBezTo>
                      <a:pt x="276257" y="218155"/>
                      <a:pt x="273801" y="219370"/>
                      <a:pt x="271192" y="219389"/>
                    </a:cubicBezTo>
                  </a:path>
                </a:pathLst>
              </a:custGeom>
              <a:solidFill>
                <a:schemeClr val="tx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626" name="Textfeld 625">
              <a:extLst>
                <a:ext uri="{FF2B5EF4-FFF2-40B4-BE49-F238E27FC236}">
                  <a16:creationId xmlns:a16="http://schemas.microsoft.com/office/drawing/2014/main" id="{453EC305-3E06-6044-8CC6-FADC3A856F81}"/>
                </a:ext>
              </a:extLst>
            </p:cNvPr>
            <p:cNvSpPr txBox="1"/>
            <p:nvPr/>
          </p:nvSpPr>
          <p:spPr>
            <a:xfrm>
              <a:off x="1759103" y="4395098"/>
              <a:ext cx="639132" cy="2862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cs-CZ" sz="700" dirty="0"/>
                <a:t>Antistatická verze</a:t>
              </a:r>
              <a:endParaRPr lang="de-DE" sz="700" dirty="0"/>
            </a:p>
          </p:txBody>
        </p:sp>
        <p:grpSp>
          <p:nvGrpSpPr>
            <p:cNvPr id="627" name="Gruppieren 626">
              <a:extLst>
                <a:ext uri="{FF2B5EF4-FFF2-40B4-BE49-F238E27FC236}">
                  <a16:creationId xmlns:a16="http://schemas.microsoft.com/office/drawing/2014/main" id="{5C771655-223A-6042-B30D-3F5AA6E06A9A}"/>
                </a:ext>
              </a:extLst>
            </p:cNvPr>
            <p:cNvGrpSpPr/>
            <p:nvPr/>
          </p:nvGrpSpPr>
          <p:grpSpPr>
            <a:xfrm>
              <a:off x="2398235" y="3937577"/>
              <a:ext cx="305739" cy="416913"/>
              <a:chOff x="8208228" y="2719220"/>
              <a:chExt cx="507116" cy="691519"/>
            </a:xfrm>
          </p:grpSpPr>
          <p:sp>
            <p:nvSpPr>
              <p:cNvPr id="628" name="Freihandform 627">
                <a:extLst>
                  <a:ext uri="{FF2B5EF4-FFF2-40B4-BE49-F238E27FC236}">
                    <a16:creationId xmlns:a16="http://schemas.microsoft.com/office/drawing/2014/main" id="{1A4C5352-CBD7-6442-B0FE-0B63EDF63A75}"/>
                  </a:ext>
                </a:extLst>
              </p:cNvPr>
              <p:cNvSpPr/>
              <p:nvPr/>
            </p:nvSpPr>
            <p:spPr>
              <a:xfrm>
                <a:off x="8375342" y="2879923"/>
                <a:ext cx="340002" cy="393086"/>
              </a:xfrm>
              <a:custGeom>
                <a:avLst/>
                <a:gdLst>
                  <a:gd name="connsiteX0" fmla="*/ 13748 w 130032"/>
                  <a:gd name="connsiteY0" fmla="*/ 78313 h 150334"/>
                  <a:gd name="connsiteX1" fmla="*/ 18758 w 130032"/>
                  <a:gd name="connsiteY1" fmla="*/ 89736 h 150334"/>
                  <a:gd name="connsiteX2" fmla="*/ 25295 w 130032"/>
                  <a:gd name="connsiteY2" fmla="*/ 99205 h 150334"/>
                  <a:gd name="connsiteX3" fmla="*/ 35438 w 130032"/>
                  <a:gd name="connsiteY3" fmla="*/ 117531 h 150334"/>
                  <a:gd name="connsiteX4" fmla="*/ 38127 w 130032"/>
                  <a:gd name="connsiteY4" fmla="*/ 128710 h 150334"/>
                  <a:gd name="connsiteX5" fmla="*/ 38127 w 130032"/>
                  <a:gd name="connsiteY5" fmla="*/ 135124 h 150334"/>
                  <a:gd name="connsiteX6" fmla="*/ 38127 w 130032"/>
                  <a:gd name="connsiteY6" fmla="*/ 137873 h 150334"/>
                  <a:gd name="connsiteX7" fmla="*/ 38127 w 130032"/>
                  <a:gd name="connsiteY7" fmla="*/ 139033 h 150334"/>
                  <a:gd name="connsiteX8" fmla="*/ 38127 w 130032"/>
                  <a:gd name="connsiteY8" fmla="*/ 140377 h 150334"/>
                  <a:gd name="connsiteX9" fmla="*/ 39165 w 130032"/>
                  <a:gd name="connsiteY9" fmla="*/ 140377 h 150334"/>
                  <a:gd name="connsiteX10" fmla="*/ 93362 w 130032"/>
                  <a:gd name="connsiteY10" fmla="*/ 140377 h 150334"/>
                  <a:gd name="connsiteX11" fmla="*/ 94034 w 130032"/>
                  <a:gd name="connsiteY11" fmla="*/ 140377 h 150334"/>
                  <a:gd name="connsiteX12" fmla="*/ 94034 w 130032"/>
                  <a:gd name="connsiteY12" fmla="*/ 140377 h 150334"/>
                  <a:gd name="connsiteX13" fmla="*/ 94034 w 130032"/>
                  <a:gd name="connsiteY13" fmla="*/ 139278 h 150334"/>
                  <a:gd name="connsiteX14" fmla="*/ 94034 w 130032"/>
                  <a:gd name="connsiteY14" fmla="*/ 137873 h 150334"/>
                  <a:gd name="connsiteX15" fmla="*/ 94034 w 130032"/>
                  <a:gd name="connsiteY15" fmla="*/ 134941 h 150334"/>
                  <a:gd name="connsiteX16" fmla="*/ 94034 w 130032"/>
                  <a:gd name="connsiteY16" fmla="*/ 128832 h 150334"/>
                  <a:gd name="connsiteX17" fmla="*/ 101611 w 130032"/>
                  <a:gd name="connsiteY17" fmla="*/ 107635 h 150334"/>
                  <a:gd name="connsiteX18" fmla="*/ 107110 w 130032"/>
                  <a:gd name="connsiteY18" fmla="*/ 99327 h 150334"/>
                  <a:gd name="connsiteX19" fmla="*/ 113220 w 130032"/>
                  <a:gd name="connsiteY19" fmla="*/ 89981 h 150334"/>
                  <a:gd name="connsiteX20" fmla="*/ 120368 w 130032"/>
                  <a:gd name="connsiteY20" fmla="*/ 66035 h 150334"/>
                  <a:gd name="connsiteX21" fmla="*/ 107476 w 130032"/>
                  <a:gd name="connsiteY21" fmla="*/ 28711 h 150334"/>
                  <a:gd name="connsiteX22" fmla="*/ 73138 w 130032"/>
                  <a:gd name="connsiteY22" fmla="*/ 10385 h 150334"/>
                  <a:gd name="connsiteX23" fmla="*/ 65133 w 130032"/>
                  <a:gd name="connsiteY23" fmla="*/ 9835 h 150334"/>
                  <a:gd name="connsiteX24" fmla="*/ 29511 w 130032"/>
                  <a:gd name="connsiteY24" fmla="*/ 22480 h 150334"/>
                  <a:gd name="connsiteX25" fmla="*/ 10387 w 130032"/>
                  <a:gd name="connsiteY25" fmla="*/ 56078 h 150334"/>
                  <a:gd name="connsiteX26" fmla="*/ 12220 w 130032"/>
                  <a:gd name="connsiteY26" fmla="*/ 78985 h 150334"/>
                  <a:gd name="connsiteX27" fmla="*/ 0 w 130032"/>
                  <a:gd name="connsiteY27" fmla="*/ 57361 h 150334"/>
                  <a:gd name="connsiteX28" fmla="*/ 16619 w 130032"/>
                  <a:gd name="connsiteY28" fmla="*/ 20708 h 150334"/>
                  <a:gd name="connsiteX29" fmla="*/ 52547 w 130032"/>
                  <a:gd name="connsiteY29" fmla="*/ 1100 h 150334"/>
                  <a:gd name="connsiteX30" fmla="*/ 64767 w 130032"/>
                  <a:gd name="connsiteY30" fmla="*/ 0 h 150334"/>
                  <a:gd name="connsiteX31" fmla="*/ 105766 w 130032"/>
                  <a:gd name="connsiteY31" fmla="*/ 14050 h 150334"/>
                  <a:gd name="connsiteX32" fmla="*/ 127823 w 130032"/>
                  <a:gd name="connsiteY32" fmla="*/ 47220 h 150334"/>
                  <a:gd name="connsiteX33" fmla="*/ 121713 w 130032"/>
                  <a:gd name="connsiteY33" fmla="*/ 94684 h 150334"/>
                  <a:gd name="connsiteX34" fmla="*/ 109493 w 130032"/>
                  <a:gd name="connsiteY34" fmla="*/ 113010 h 150334"/>
                  <a:gd name="connsiteX35" fmla="*/ 104910 w 130032"/>
                  <a:gd name="connsiteY35" fmla="*/ 123395 h 150334"/>
                  <a:gd name="connsiteX36" fmla="*/ 103199 w 130032"/>
                  <a:gd name="connsiteY36" fmla="*/ 135307 h 150334"/>
                  <a:gd name="connsiteX37" fmla="*/ 103199 w 130032"/>
                  <a:gd name="connsiteY37" fmla="*/ 140988 h 150334"/>
                  <a:gd name="connsiteX38" fmla="*/ 101977 w 130032"/>
                  <a:gd name="connsiteY38" fmla="*/ 145692 h 150334"/>
                  <a:gd name="connsiteX39" fmla="*/ 93790 w 130032"/>
                  <a:gd name="connsiteY39" fmla="*/ 150334 h 150334"/>
                  <a:gd name="connsiteX40" fmla="*/ 69349 w 130032"/>
                  <a:gd name="connsiteY40" fmla="*/ 150334 h 150334"/>
                  <a:gd name="connsiteX41" fmla="*/ 49308 w 130032"/>
                  <a:gd name="connsiteY41" fmla="*/ 150334 h 150334"/>
                  <a:gd name="connsiteX42" fmla="*/ 36477 w 130032"/>
                  <a:gd name="connsiteY42" fmla="*/ 150334 h 150334"/>
                  <a:gd name="connsiteX43" fmla="*/ 28595 w 130032"/>
                  <a:gd name="connsiteY43" fmla="*/ 145386 h 150334"/>
                  <a:gd name="connsiteX44" fmla="*/ 27556 w 130032"/>
                  <a:gd name="connsiteY44" fmla="*/ 140561 h 150334"/>
                  <a:gd name="connsiteX45" fmla="*/ 27556 w 130032"/>
                  <a:gd name="connsiteY45" fmla="*/ 135002 h 150334"/>
                  <a:gd name="connsiteX46" fmla="*/ 25784 w 130032"/>
                  <a:gd name="connsiteY46" fmla="*/ 122784 h 150334"/>
                  <a:gd name="connsiteX47" fmla="*/ 15153 w 130032"/>
                  <a:gd name="connsiteY47" fmla="*/ 103542 h 150334"/>
                  <a:gd name="connsiteX48" fmla="*/ 9043 w 130032"/>
                  <a:gd name="connsiteY48" fmla="*/ 94379 h 150334"/>
                  <a:gd name="connsiteX49" fmla="*/ 3666 w 130032"/>
                  <a:gd name="connsiteY49" fmla="*/ 82162 h 150334"/>
                  <a:gd name="connsiteX50" fmla="*/ 977 w 130032"/>
                  <a:gd name="connsiteY50" fmla="*/ 56811 h 150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130032" h="150334">
                    <a:moveTo>
                      <a:pt x="13748" y="78313"/>
                    </a:moveTo>
                    <a:cubicBezTo>
                      <a:pt x="14963" y="82308"/>
                      <a:pt x="16644" y="86138"/>
                      <a:pt x="18758" y="89736"/>
                    </a:cubicBezTo>
                    <a:cubicBezTo>
                      <a:pt x="20713" y="93035"/>
                      <a:pt x="23096" y="95845"/>
                      <a:pt x="25295" y="99205"/>
                    </a:cubicBezTo>
                    <a:cubicBezTo>
                      <a:pt x="29481" y="104831"/>
                      <a:pt x="32891" y="110995"/>
                      <a:pt x="35438" y="117531"/>
                    </a:cubicBezTo>
                    <a:cubicBezTo>
                      <a:pt x="36819" y="121123"/>
                      <a:pt x="37723" y="124880"/>
                      <a:pt x="38127" y="128710"/>
                    </a:cubicBezTo>
                    <a:cubicBezTo>
                      <a:pt x="38249" y="130848"/>
                      <a:pt x="38249" y="132986"/>
                      <a:pt x="38127" y="135124"/>
                    </a:cubicBezTo>
                    <a:cubicBezTo>
                      <a:pt x="38127" y="136040"/>
                      <a:pt x="38127" y="136956"/>
                      <a:pt x="38127" y="137873"/>
                    </a:cubicBezTo>
                    <a:lnTo>
                      <a:pt x="38127" y="139033"/>
                    </a:lnTo>
                    <a:cubicBezTo>
                      <a:pt x="38127" y="139033"/>
                      <a:pt x="38127" y="140255"/>
                      <a:pt x="38127" y="140377"/>
                    </a:cubicBezTo>
                    <a:cubicBezTo>
                      <a:pt x="38127" y="140499"/>
                      <a:pt x="39043" y="140377"/>
                      <a:pt x="39165" y="140377"/>
                    </a:cubicBezTo>
                    <a:lnTo>
                      <a:pt x="93362" y="140377"/>
                    </a:lnTo>
                    <a:cubicBezTo>
                      <a:pt x="93582" y="140408"/>
                      <a:pt x="93808" y="140408"/>
                      <a:pt x="94034" y="140377"/>
                    </a:cubicBezTo>
                    <a:cubicBezTo>
                      <a:pt x="94401" y="140377"/>
                      <a:pt x="94034" y="140377"/>
                      <a:pt x="94034" y="140377"/>
                    </a:cubicBezTo>
                    <a:cubicBezTo>
                      <a:pt x="94101" y="140011"/>
                      <a:pt x="94101" y="139644"/>
                      <a:pt x="94034" y="139278"/>
                    </a:cubicBezTo>
                    <a:lnTo>
                      <a:pt x="94034" y="137873"/>
                    </a:lnTo>
                    <a:lnTo>
                      <a:pt x="94034" y="134941"/>
                    </a:lnTo>
                    <a:cubicBezTo>
                      <a:pt x="93918" y="132906"/>
                      <a:pt x="93918" y="130866"/>
                      <a:pt x="94034" y="128832"/>
                    </a:cubicBezTo>
                    <a:cubicBezTo>
                      <a:pt x="95048" y="121312"/>
                      <a:pt x="97633" y="114092"/>
                      <a:pt x="101611" y="107635"/>
                    </a:cubicBezTo>
                    <a:cubicBezTo>
                      <a:pt x="103321" y="104825"/>
                      <a:pt x="105154" y="102015"/>
                      <a:pt x="107110" y="99327"/>
                    </a:cubicBezTo>
                    <a:cubicBezTo>
                      <a:pt x="109065" y="96639"/>
                      <a:pt x="111631" y="93218"/>
                      <a:pt x="113220" y="89981"/>
                    </a:cubicBezTo>
                    <a:cubicBezTo>
                      <a:pt x="117521" y="82699"/>
                      <a:pt x="119978" y="74483"/>
                      <a:pt x="120368" y="66035"/>
                    </a:cubicBezTo>
                    <a:cubicBezTo>
                      <a:pt x="121023" y="52400"/>
                      <a:pt x="116409" y="39034"/>
                      <a:pt x="107476" y="28711"/>
                    </a:cubicBezTo>
                    <a:cubicBezTo>
                      <a:pt x="98592" y="18693"/>
                      <a:pt x="86409" y="12187"/>
                      <a:pt x="73138" y="10385"/>
                    </a:cubicBezTo>
                    <a:cubicBezTo>
                      <a:pt x="70486" y="10018"/>
                      <a:pt x="67809" y="9835"/>
                      <a:pt x="65133" y="9835"/>
                    </a:cubicBezTo>
                    <a:cubicBezTo>
                      <a:pt x="52162" y="9835"/>
                      <a:pt x="39581" y="14300"/>
                      <a:pt x="29511" y="22480"/>
                    </a:cubicBezTo>
                    <a:cubicBezTo>
                      <a:pt x="19192" y="30922"/>
                      <a:pt x="12373" y="42895"/>
                      <a:pt x="10387" y="56078"/>
                    </a:cubicBezTo>
                    <a:cubicBezTo>
                      <a:pt x="9281" y="63756"/>
                      <a:pt x="9904" y="71581"/>
                      <a:pt x="12220" y="78985"/>
                    </a:cubicBezTo>
                    <a:moveTo>
                      <a:pt x="0" y="57361"/>
                    </a:moveTo>
                    <a:cubicBezTo>
                      <a:pt x="1344" y="43646"/>
                      <a:pt x="7185" y="30757"/>
                      <a:pt x="16619" y="20708"/>
                    </a:cubicBezTo>
                    <a:cubicBezTo>
                      <a:pt x="26224" y="10544"/>
                      <a:pt x="38799" y="3677"/>
                      <a:pt x="52547" y="1100"/>
                    </a:cubicBezTo>
                    <a:cubicBezTo>
                      <a:pt x="56579" y="373"/>
                      <a:pt x="60667" y="6"/>
                      <a:pt x="64767" y="0"/>
                    </a:cubicBezTo>
                    <a:cubicBezTo>
                      <a:pt x="79614" y="-6"/>
                      <a:pt x="94046" y="4936"/>
                      <a:pt x="105766" y="14050"/>
                    </a:cubicBezTo>
                    <a:cubicBezTo>
                      <a:pt x="116489" y="22449"/>
                      <a:pt x="124224" y="34080"/>
                      <a:pt x="127823" y="47220"/>
                    </a:cubicBezTo>
                    <a:cubicBezTo>
                      <a:pt x="132210" y="63225"/>
                      <a:pt x="130010" y="80311"/>
                      <a:pt x="121713" y="94684"/>
                    </a:cubicBezTo>
                    <a:cubicBezTo>
                      <a:pt x="117986" y="100793"/>
                      <a:pt x="113097" y="106596"/>
                      <a:pt x="109493" y="113010"/>
                    </a:cubicBezTo>
                    <a:cubicBezTo>
                      <a:pt x="107568" y="116285"/>
                      <a:pt x="106034" y="119767"/>
                      <a:pt x="104910" y="123395"/>
                    </a:cubicBezTo>
                    <a:cubicBezTo>
                      <a:pt x="103792" y="127268"/>
                      <a:pt x="103218" y="131275"/>
                      <a:pt x="103199" y="135307"/>
                    </a:cubicBezTo>
                    <a:cubicBezTo>
                      <a:pt x="103199" y="137201"/>
                      <a:pt x="103199" y="139094"/>
                      <a:pt x="103199" y="140988"/>
                    </a:cubicBezTo>
                    <a:cubicBezTo>
                      <a:pt x="103224" y="142637"/>
                      <a:pt x="102802" y="144262"/>
                      <a:pt x="101977" y="145692"/>
                    </a:cubicBezTo>
                    <a:cubicBezTo>
                      <a:pt x="100254" y="148575"/>
                      <a:pt x="97144" y="150334"/>
                      <a:pt x="93790" y="150334"/>
                    </a:cubicBezTo>
                    <a:cubicBezTo>
                      <a:pt x="85541" y="150334"/>
                      <a:pt x="77292" y="150334"/>
                      <a:pt x="69349" y="150334"/>
                    </a:cubicBezTo>
                    <a:lnTo>
                      <a:pt x="49308" y="150334"/>
                    </a:lnTo>
                    <a:cubicBezTo>
                      <a:pt x="45031" y="150334"/>
                      <a:pt x="40754" y="150334"/>
                      <a:pt x="36477" y="150334"/>
                    </a:cubicBezTo>
                    <a:cubicBezTo>
                      <a:pt x="33171" y="150157"/>
                      <a:pt x="30190" y="148282"/>
                      <a:pt x="28595" y="145386"/>
                    </a:cubicBezTo>
                    <a:cubicBezTo>
                      <a:pt x="27856" y="143890"/>
                      <a:pt x="27501" y="142228"/>
                      <a:pt x="27556" y="140561"/>
                    </a:cubicBezTo>
                    <a:lnTo>
                      <a:pt x="27556" y="135002"/>
                    </a:lnTo>
                    <a:cubicBezTo>
                      <a:pt x="27593" y="130860"/>
                      <a:pt x="26994" y="126743"/>
                      <a:pt x="25784" y="122784"/>
                    </a:cubicBezTo>
                    <a:cubicBezTo>
                      <a:pt x="23255" y="115863"/>
                      <a:pt x="19668" y="109370"/>
                      <a:pt x="15153" y="103542"/>
                    </a:cubicBezTo>
                    <a:cubicBezTo>
                      <a:pt x="13015" y="100549"/>
                      <a:pt x="10753" y="97433"/>
                      <a:pt x="9043" y="94379"/>
                    </a:cubicBezTo>
                    <a:cubicBezTo>
                      <a:pt x="6813" y="90512"/>
                      <a:pt x="5010" y="86413"/>
                      <a:pt x="3666" y="82162"/>
                    </a:cubicBezTo>
                    <a:cubicBezTo>
                      <a:pt x="1039" y="73988"/>
                      <a:pt x="122" y="65357"/>
                      <a:pt x="977" y="56811"/>
                    </a:cubicBezTo>
                  </a:path>
                </a:pathLst>
              </a:custGeom>
              <a:solidFill>
                <a:schemeClr val="accent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9" name="Freihandform 628">
                <a:extLst>
                  <a:ext uri="{FF2B5EF4-FFF2-40B4-BE49-F238E27FC236}">
                    <a16:creationId xmlns:a16="http://schemas.microsoft.com/office/drawing/2014/main" id="{238D475D-03CA-DE42-9D76-34E4F79FC351}"/>
                  </a:ext>
                </a:extLst>
              </p:cNvPr>
              <p:cNvSpPr/>
              <p:nvPr/>
            </p:nvSpPr>
            <p:spPr>
              <a:xfrm>
                <a:off x="8477369" y="3367410"/>
                <a:ext cx="144708" cy="43329"/>
              </a:xfrm>
              <a:custGeom>
                <a:avLst/>
                <a:gdLst>
                  <a:gd name="connsiteX0" fmla="*/ 2834 w 55343"/>
                  <a:gd name="connsiteY0" fmla="*/ 0 h 16571"/>
                  <a:gd name="connsiteX1" fmla="*/ 52509 w 55343"/>
                  <a:gd name="connsiteY1" fmla="*/ 0 h 16571"/>
                  <a:gd name="connsiteX2" fmla="*/ 53426 w 55343"/>
                  <a:gd name="connsiteY2" fmla="*/ 4826 h 16571"/>
                  <a:gd name="connsiteX3" fmla="*/ 42000 w 55343"/>
                  <a:gd name="connsiteY3" fmla="*/ 14722 h 16571"/>
                  <a:gd name="connsiteX4" fmla="*/ 27519 w 55343"/>
                  <a:gd name="connsiteY4" fmla="*/ 16555 h 16571"/>
                  <a:gd name="connsiteX5" fmla="*/ 13283 w 55343"/>
                  <a:gd name="connsiteY5" fmla="*/ 14722 h 16571"/>
                  <a:gd name="connsiteX6" fmla="*/ 1918 w 55343"/>
                  <a:gd name="connsiteY6" fmla="*/ 4826 h 16571"/>
                  <a:gd name="connsiteX7" fmla="*/ 2834 w 55343"/>
                  <a:gd name="connsiteY7" fmla="*/ 0 h 16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343" h="16571">
                    <a:moveTo>
                      <a:pt x="2834" y="0"/>
                    </a:moveTo>
                    <a:lnTo>
                      <a:pt x="52509" y="0"/>
                    </a:lnTo>
                    <a:cubicBezTo>
                      <a:pt x="56053" y="0"/>
                      <a:pt x="56175" y="2382"/>
                      <a:pt x="53426" y="4826"/>
                    </a:cubicBezTo>
                    <a:lnTo>
                      <a:pt x="42000" y="14722"/>
                    </a:lnTo>
                    <a:cubicBezTo>
                      <a:pt x="37277" y="15992"/>
                      <a:pt x="32407" y="16610"/>
                      <a:pt x="27519" y="16555"/>
                    </a:cubicBezTo>
                    <a:cubicBezTo>
                      <a:pt x="22704" y="16683"/>
                      <a:pt x="17902" y="16066"/>
                      <a:pt x="13283" y="14722"/>
                    </a:cubicBezTo>
                    <a:lnTo>
                      <a:pt x="1918" y="4826"/>
                    </a:lnTo>
                    <a:cubicBezTo>
                      <a:pt x="-832" y="2382"/>
                      <a:pt x="-710" y="0"/>
                      <a:pt x="2834" y="0"/>
                    </a:cubicBezTo>
                  </a:path>
                </a:pathLst>
              </a:custGeom>
              <a:solidFill>
                <a:schemeClr val="accent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0" name="Freihandform 629">
                <a:extLst>
                  <a:ext uri="{FF2B5EF4-FFF2-40B4-BE49-F238E27FC236}">
                    <a16:creationId xmlns:a16="http://schemas.microsoft.com/office/drawing/2014/main" id="{4A4433AF-8691-F54A-89B4-F672450149C7}"/>
                  </a:ext>
                </a:extLst>
              </p:cNvPr>
              <p:cNvSpPr/>
              <p:nvPr/>
            </p:nvSpPr>
            <p:spPr>
              <a:xfrm>
                <a:off x="8540537" y="2921924"/>
                <a:ext cx="137557" cy="107819"/>
              </a:xfrm>
              <a:custGeom>
                <a:avLst/>
                <a:gdLst>
                  <a:gd name="connsiteX0" fmla="*/ 5072 w 52608"/>
                  <a:gd name="connsiteY0" fmla="*/ 125 h 41235"/>
                  <a:gd name="connsiteX1" fmla="*/ 42527 w 52608"/>
                  <a:gd name="connsiteY1" fmla="*/ 17963 h 41235"/>
                  <a:gd name="connsiteX2" fmla="*/ 52364 w 52608"/>
                  <a:gd name="connsiteY2" fmla="*/ 35067 h 41235"/>
                  <a:gd name="connsiteX3" fmla="*/ 49345 w 52608"/>
                  <a:gd name="connsiteY3" fmla="*/ 41090 h 41235"/>
                  <a:gd name="connsiteX4" fmla="*/ 49064 w 52608"/>
                  <a:gd name="connsiteY4" fmla="*/ 41176 h 41235"/>
                  <a:gd name="connsiteX5" fmla="*/ 47659 w 52608"/>
                  <a:gd name="connsiteY5" fmla="*/ 41176 h 41235"/>
                  <a:gd name="connsiteX6" fmla="*/ 42893 w 52608"/>
                  <a:gd name="connsiteY6" fmla="*/ 37755 h 41235"/>
                  <a:gd name="connsiteX7" fmla="*/ 4766 w 52608"/>
                  <a:gd name="connsiteY7" fmla="*/ 9594 h 41235"/>
                  <a:gd name="connsiteX8" fmla="*/ 0 w 52608"/>
                  <a:gd name="connsiteY8" fmla="*/ 4707 h 41235"/>
                  <a:gd name="connsiteX9" fmla="*/ 0 w 52608"/>
                  <a:gd name="connsiteY9" fmla="*/ 4707 h 41235"/>
                  <a:gd name="connsiteX10" fmla="*/ 5066 w 52608"/>
                  <a:gd name="connsiteY10" fmla="*/ 3 h 41235"/>
                  <a:gd name="connsiteX11" fmla="*/ 5072 w 52608"/>
                  <a:gd name="connsiteY11" fmla="*/ 3 h 412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2608" h="41235">
                    <a:moveTo>
                      <a:pt x="5072" y="125"/>
                    </a:moveTo>
                    <a:cubicBezTo>
                      <a:pt x="19577" y="266"/>
                      <a:pt x="33276" y="6790"/>
                      <a:pt x="42527" y="17963"/>
                    </a:cubicBezTo>
                    <a:cubicBezTo>
                      <a:pt x="46810" y="23027"/>
                      <a:pt x="50146" y="28818"/>
                      <a:pt x="52364" y="35067"/>
                    </a:cubicBezTo>
                    <a:cubicBezTo>
                      <a:pt x="53195" y="37565"/>
                      <a:pt x="51844" y="40259"/>
                      <a:pt x="49345" y="41090"/>
                    </a:cubicBezTo>
                    <a:cubicBezTo>
                      <a:pt x="49254" y="41121"/>
                      <a:pt x="49156" y="41151"/>
                      <a:pt x="49064" y="41176"/>
                    </a:cubicBezTo>
                    <a:cubicBezTo>
                      <a:pt x="48600" y="41255"/>
                      <a:pt x="48124" y="41255"/>
                      <a:pt x="47659" y="41176"/>
                    </a:cubicBezTo>
                    <a:cubicBezTo>
                      <a:pt x="45502" y="41182"/>
                      <a:pt x="43578" y="39801"/>
                      <a:pt x="42893" y="37755"/>
                    </a:cubicBezTo>
                    <a:cubicBezTo>
                      <a:pt x="37266" y="21359"/>
                      <a:pt x="22095" y="10156"/>
                      <a:pt x="4766" y="9594"/>
                    </a:cubicBezTo>
                    <a:cubicBezTo>
                      <a:pt x="2102" y="9563"/>
                      <a:pt x="-30" y="7370"/>
                      <a:pt x="0" y="4707"/>
                    </a:cubicBezTo>
                    <a:cubicBezTo>
                      <a:pt x="0" y="4707"/>
                      <a:pt x="0" y="4707"/>
                      <a:pt x="0" y="4707"/>
                    </a:cubicBezTo>
                    <a:cubicBezTo>
                      <a:pt x="98" y="2007"/>
                      <a:pt x="2365" y="-94"/>
                      <a:pt x="5066" y="3"/>
                    </a:cubicBezTo>
                    <a:cubicBezTo>
                      <a:pt x="5066" y="3"/>
                      <a:pt x="5072" y="3"/>
                      <a:pt x="5072" y="3"/>
                    </a:cubicBezTo>
                  </a:path>
                </a:pathLst>
              </a:custGeom>
              <a:solidFill>
                <a:schemeClr val="accent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1" name="Freihandform 630">
                <a:extLst>
                  <a:ext uri="{FF2B5EF4-FFF2-40B4-BE49-F238E27FC236}">
                    <a16:creationId xmlns:a16="http://schemas.microsoft.com/office/drawing/2014/main" id="{B436D843-0CC9-E74B-ADBD-235C39DFDE98}"/>
                  </a:ext>
                </a:extLst>
              </p:cNvPr>
              <p:cNvSpPr/>
              <p:nvPr/>
            </p:nvSpPr>
            <p:spPr>
              <a:xfrm>
                <a:off x="8452715" y="3282349"/>
                <a:ext cx="194015" cy="31955"/>
              </a:xfrm>
              <a:custGeom>
                <a:avLst/>
                <a:gdLst>
                  <a:gd name="connsiteX0" fmla="*/ 7924 w 74200"/>
                  <a:gd name="connsiteY0" fmla="*/ 277 h 12221"/>
                  <a:gd name="connsiteX1" fmla="*/ 66276 w 74200"/>
                  <a:gd name="connsiteY1" fmla="*/ 277 h 12221"/>
                  <a:gd name="connsiteX2" fmla="*/ 73925 w 74200"/>
                  <a:gd name="connsiteY2" fmla="*/ 4296 h 12221"/>
                  <a:gd name="connsiteX3" fmla="*/ 69899 w 74200"/>
                  <a:gd name="connsiteY3" fmla="*/ 11945 h 12221"/>
                  <a:gd name="connsiteX4" fmla="*/ 66276 w 74200"/>
                  <a:gd name="connsiteY4" fmla="*/ 11945 h 12221"/>
                  <a:gd name="connsiteX5" fmla="*/ 7924 w 74200"/>
                  <a:gd name="connsiteY5" fmla="*/ 11945 h 12221"/>
                  <a:gd name="connsiteX6" fmla="*/ 275 w 74200"/>
                  <a:gd name="connsiteY6" fmla="*/ 7925 h 12221"/>
                  <a:gd name="connsiteX7" fmla="*/ 4301 w 74200"/>
                  <a:gd name="connsiteY7" fmla="*/ 277 h 12221"/>
                  <a:gd name="connsiteX8" fmla="*/ 7924 w 74200"/>
                  <a:gd name="connsiteY8" fmla="*/ 277 h 1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200" h="12221">
                    <a:moveTo>
                      <a:pt x="7924" y="277"/>
                    </a:moveTo>
                    <a:lnTo>
                      <a:pt x="66276" y="277"/>
                    </a:lnTo>
                    <a:cubicBezTo>
                      <a:pt x="69496" y="-725"/>
                      <a:pt x="72923" y="1077"/>
                      <a:pt x="73925" y="4296"/>
                    </a:cubicBezTo>
                    <a:cubicBezTo>
                      <a:pt x="74922" y="7522"/>
                      <a:pt x="73125" y="10943"/>
                      <a:pt x="69899" y="11945"/>
                    </a:cubicBezTo>
                    <a:cubicBezTo>
                      <a:pt x="68720" y="12311"/>
                      <a:pt x="67455" y="12311"/>
                      <a:pt x="66276" y="11945"/>
                    </a:cubicBezTo>
                    <a:lnTo>
                      <a:pt x="7924" y="11945"/>
                    </a:lnTo>
                    <a:cubicBezTo>
                      <a:pt x="4704" y="12946"/>
                      <a:pt x="1277" y="11144"/>
                      <a:pt x="275" y="7925"/>
                    </a:cubicBezTo>
                    <a:cubicBezTo>
                      <a:pt x="-721" y="4700"/>
                      <a:pt x="1075" y="1279"/>
                      <a:pt x="4301" y="277"/>
                    </a:cubicBezTo>
                    <a:cubicBezTo>
                      <a:pt x="5480" y="-90"/>
                      <a:pt x="6745" y="-90"/>
                      <a:pt x="7924" y="277"/>
                    </a:cubicBezTo>
                  </a:path>
                </a:pathLst>
              </a:custGeom>
              <a:solidFill>
                <a:schemeClr val="accent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2" name="Freihandform 631">
                <a:extLst>
                  <a:ext uri="{FF2B5EF4-FFF2-40B4-BE49-F238E27FC236}">
                    <a16:creationId xmlns:a16="http://schemas.microsoft.com/office/drawing/2014/main" id="{AC7FCC9B-264C-F340-B5B0-E64CF85488BD}"/>
                  </a:ext>
                </a:extLst>
              </p:cNvPr>
              <p:cNvSpPr/>
              <p:nvPr/>
            </p:nvSpPr>
            <p:spPr>
              <a:xfrm>
                <a:off x="8452715" y="3324358"/>
                <a:ext cx="194015" cy="31955"/>
              </a:xfrm>
              <a:custGeom>
                <a:avLst/>
                <a:gdLst>
                  <a:gd name="connsiteX0" fmla="*/ 7924 w 74200"/>
                  <a:gd name="connsiteY0" fmla="*/ 277 h 12221"/>
                  <a:gd name="connsiteX1" fmla="*/ 66276 w 74200"/>
                  <a:gd name="connsiteY1" fmla="*/ 277 h 12221"/>
                  <a:gd name="connsiteX2" fmla="*/ 73925 w 74200"/>
                  <a:gd name="connsiteY2" fmla="*/ 4296 h 12221"/>
                  <a:gd name="connsiteX3" fmla="*/ 69899 w 74200"/>
                  <a:gd name="connsiteY3" fmla="*/ 11945 h 12221"/>
                  <a:gd name="connsiteX4" fmla="*/ 66276 w 74200"/>
                  <a:gd name="connsiteY4" fmla="*/ 11945 h 12221"/>
                  <a:gd name="connsiteX5" fmla="*/ 7924 w 74200"/>
                  <a:gd name="connsiteY5" fmla="*/ 11945 h 12221"/>
                  <a:gd name="connsiteX6" fmla="*/ 275 w 74200"/>
                  <a:gd name="connsiteY6" fmla="*/ 7925 h 12221"/>
                  <a:gd name="connsiteX7" fmla="*/ 4301 w 74200"/>
                  <a:gd name="connsiteY7" fmla="*/ 277 h 12221"/>
                  <a:gd name="connsiteX8" fmla="*/ 7924 w 74200"/>
                  <a:gd name="connsiteY8" fmla="*/ 277 h 1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200" h="12221">
                    <a:moveTo>
                      <a:pt x="7924" y="277"/>
                    </a:moveTo>
                    <a:lnTo>
                      <a:pt x="66276" y="277"/>
                    </a:lnTo>
                    <a:cubicBezTo>
                      <a:pt x="69496" y="-725"/>
                      <a:pt x="72923" y="1077"/>
                      <a:pt x="73925" y="4296"/>
                    </a:cubicBezTo>
                    <a:cubicBezTo>
                      <a:pt x="74922" y="7522"/>
                      <a:pt x="73125" y="10943"/>
                      <a:pt x="69899" y="11945"/>
                    </a:cubicBezTo>
                    <a:cubicBezTo>
                      <a:pt x="68720" y="12311"/>
                      <a:pt x="67455" y="12311"/>
                      <a:pt x="66276" y="11945"/>
                    </a:cubicBezTo>
                    <a:lnTo>
                      <a:pt x="7924" y="11945"/>
                    </a:lnTo>
                    <a:cubicBezTo>
                      <a:pt x="4704" y="12946"/>
                      <a:pt x="1277" y="11144"/>
                      <a:pt x="275" y="7925"/>
                    </a:cubicBezTo>
                    <a:cubicBezTo>
                      <a:pt x="-721" y="4700"/>
                      <a:pt x="1075" y="1279"/>
                      <a:pt x="4301" y="277"/>
                    </a:cubicBezTo>
                    <a:cubicBezTo>
                      <a:pt x="5480" y="-90"/>
                      <a:pt x="6745" y="-90"/>
                      <a:pt x="7924" y="277"/>
                    </a:cubicBezTo>
                  </a:path>
                </a:pathLst>
              </a:custGeom>
              <a:solidFill>
                <a:schemeClr val="accent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3" name="Freihandform 632">
                <a:extLst>
                  <a:ext uri="{FF2B5EF4-FFF2-40B4-BE49-F238E27FC236}">
                    <a16:creationId xmlns:a16="http://schemas.microsoft.com/office/drawing/2014/main" id="{5F877230-6217-B645-BD9E-443731ACD138}"/>
                  </a:ext>
                </a:extLst>
              </p:cNvPr>
              <p:cNvSpPr/>
              <p:nvPr/>
            </p:nvSpPr>
            <p:spPr>
              <a:xfrm>
                <a:off x="8304657" y="2812402"/>
                <a:ext cx="89534" cy="87325"/>
              </a:xfrm>
              <a:custGeom>
                <a:avLst/>
                <a:gdLst>
                  <a:gd name="connsiteX0" fmla="*/ 27521 w 34242"/>
                  <a:gd name="connsiteY0" fmla="*/ 33398 h 33397"/>
                  <a:gd name="connsiteX1" fmla="*/ 27521 w 34242"/>
                  <a:gd name="connsiteY1" fmla="*/ 33398 h 33397"/>
                  <a:gd name="connsiteX2" fmla="*/ 1370 w 34242"/>
                  <a:gd name="connsiteY2" fmla="*/ 7924 h 33397"/>
                  <a:gd name="connsiteX3" fmla="*/ 1315 w 34242"/>
                  <a:gd name="connsiteY3" fmla="*/ 1443 h 33397"/>
                  <a:gd name="connsiteX4" fmla="*/ 1370 w 34242"/>
                  <a:gd name="connsiteY4" fmla="*/ 1388 h 33397"/>
                  <a:gd name="connsiteX5" fmla="*/ 8091 w 34242"/>
                  <a:gd name="connsiteY5" fmla="*/ 1388 h 33397"/>
                  <a:gd name="connsiteX6" fmla="*/ 34243 w 34242"/>
                  <a:gd name="connsiteY6" fmla="*/ 26739 h 33397"/>
                  <a:gd name="connsiteX7" fmla="*/ 34243 w 34242"/>
                  <a:gd name="connsiteY7" fmla="*/ 26739 h 33397"/>
                  <a:gd name="connsiteX8" fmla="*/ 27521 w 34242"/>
                  <a:gd name="connsiteY8" fmla="*/ 33214 h 33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242" h="33397">
                    <a:moveTo>
                      <a:pt x="27521" y="33398"/>
                    </a:moveTo>
                    <a:lnTo>
                      <a:pt x="27521" y="33398"/>
                    </a:lnTo>
                    <a:lnTo>
                      <a:pt x="1370" y="7924"/>
                    </a:lnTo>
                    <a:cubicBezTo>
                      <a:pt x="-432" y="6153"/>
                      <a:pt x="-463" y="3251"/>
                      <a:pt x="1315" y="1443"/>
                    </a:cubicBezTo>
                    <a:cubicBezTo>
                      <a:pt x="1334" y="1425"/>
                      <a:pt x="1352" y="1407"/>
                      <a:pt x="1370" y="1388"/>
                    </a:cubicBezTo>
                    <a:cubicBezTo>
                      <a:pt x="3228" y="-463"/>
                      <a:pt x="6234" y="-463"/>
                      <a:pt x="8091" y="1388"/>
                    </a:cubicBezTo>
                    <a:lnTo>
                      <a:pt x="34243" y="26739"/>
                    </a:lnTo>
                    <a:lnTo>
                      <a:pt x="34243" y="26739"/>
                    </a:lnTo>
                    <a:cubicBezTo>
                      <a:pt x="31884" y="28773"/>
                      <a:pt x="29642" y="30936"/>
                      <a:pt x="27521" y="33214"/>
                    </a:cubicBezTo>
                  </a:path>
                </a:pathLst>
              </a:custGeom>
              <a:solidFill>
                <a:schemeClr val="accent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4" name="Freihandform 633">
                <a:extLst>
                  <a:ext uri="{FF2B5EF4-FFF2-40B4-BE49-F238E27FC236}">
                    <a16:creationId xmlns:a16="http://schemas.microsoft.com/office/drawing/2014/main" id="{6A005FE7-89BB-C949-A66F-F21315757502}"/>
                  </a:ext>
                </a:extLst>
              </p:cNvPr>
              <p:cNvSpPr/>
              <p:nvPr/>
            </p:nvSpPr>
            <p:spPr>
              <a:xfrm>
                <a:off x="8537341" y="2719220"/>
                <a:ext cx="24762" cy="105916"/>
              </a:xfrm>
              <a:custGeom>
                <a:avLst/>
                <a:gdLst>
                  <a:gd name="connsiteX0" fmla="*/ 4583 w 9470"/>
                  <a:gd name="connsiteY0" fmla="*/ 6 h 40507"/>
                  <a:gd name="connsiteX1" fmla="*/ 9465 w 9470"/>
                  <a:gd name="connsiteY1" fmla="*/ 4399 h 40507"/>
                  <a:gd name="connsiteX2" fmla="*/ 9471 w 9470"/>
                  <a:gd name="connsiteY2" fmla="*/ 4588 h 40507"/>
                  <a:gd name="connsiteX3" fmla="*/ 9471 w 9470"/>
                  <a:gd name="connsiteY3" fmla="*/ 40507 h 40507"/>
                  <a:gd name="connsiteX4" fmla="*/ 9471 w 9470"/>
                  <a:gd name="connsiteY4" fmla="*/ 40507 h 40507"/>
                  <a:gd name="connsiteX5" fmla="*/ 4705 w 9470"/>
                  <a:gd name="connsiteY5" fmla="*/ 40507 h 40507"/>
                  <a:gd name="connsiteX6" fmla="*/ 0 w 9470"/>
                  <a:gd name="connsiteY6" fmla="*/ 40507 h 40507"/>
                  <a:gd name="connsiteX7" fmla="*/ 0 w 9470"/>
                  <a:gd name="connsiteY7" fmla="*/ 40507 h 40507"/>
                  <a:gd name="connsiteX8" fmla="*/ 0 w 9470"/>
                  <a:gd name="connsiteY8" fmla="*/ 4771 h 40507"/>
                  <a:gd name="connsiteX9" fmla="*/ 4583 w 9470"/>
                  <a:gd name="connsiteY9" fmla="*/ 6 h 40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470" h="40507">
                    <a:moveTo>
                      <a:pt x="4583" y="6"/>
                    </a:moveTo>
                    <a:cubicBezTo>
                      <a:pt x="7143" y="-128"/>
                      <a:pt x="9330" y="1839"/>
                      <a:pt x="9465" y="4399"/>
                    </a:cubicBezTo>
                    <a:cubicBezTo>
                      <a:pt x="9471" y="4460"/>
                      <a:pt x="9471" y="4527"/>
                      <a:pt x="9471" y="4588"/>
                    </a:cubicBezTo>
                    <a:lnTo>
                      <a:pt x="9471" y="40507"/>
                    </a:lnTo>
                    <a:lnTo>
                      <a:pt x="9471" y="40507"/>
                    </a:lnTo>
                    <a:lnTo>
                      <a:pt x="4705" y="40507"/>
                    </a:lnTo>
                    <a:lnTo>
                      <a:pt x="0" y="40507"/>
                    </a:lnTo>
                    <a:lnTo>
                      <a:pt x="0" y="40507"/>
                    </a:lnTo>
                    <a:lnTo>
                      <a:pt x="0" y="4771"/>
                    </a:lnTo>
                    <a:cubicBezTo>
                      <a:pt x="0" y="2212"/>
                      <a:pt x="2023" y="104"/>
                      <a:pt x="4583" y="6"/>
                    </a:cubicBezTo>
                  </a:path>
                </a:pathLst>
              </a:custGeom>
              <a:solidFill>
                <a:schemeClr val="accent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5" name="Freihandform 634">
                <a:extLst>
                  <a:ext uri="{FF2B5EF4-FFF2-40B4-BE49-F238E27FC236}">
                    <a16:creationId xmlns:a16="http://schemas.microsoft.com/office/drawing/2014/main" id="{6E0E7630-3C72-4A4F-B103-7D5B1111314C}"/>
                  </a:ext>
                </a:extLst>
              </p:cNvPr>
              <p:cNvSpPr/>
              <p:nvPr/>
            </p:nvSpPr>
            <p:spPr>
              <a:xfrm>
                <a:off x="8208228" y="3038686"/>
                <a:ext cx="108957" cy="24124"/>
              </a:xfrm>
              <a:custGeom>
                <a:avLst/>
                <a:gdLst>
                  <a:gd name="connsiteX0" fmla="*/ 5010 w 41670"/>
                  <a:gd name="connsiteY0" fmla="*/ 63 h 9226"/>
                  <a:gd name="connsiteX1" fmla="*/ 41671 w 41670"/>
                  <a:gd name="connsiteY1" fmla="*/ 63 h 9226"/>
                  <a:gd name="connsiteX2" fmla="*/ 41671 w 41670"/>
                  <a:gd name="connsiteY2" fmla="*/ 4645 h 9226"/>
                  <a:gd name="connsiteX3" fmla="*/ 41671 w 41670"/>
                  <a:gd name="connsiteY3" fmla="*/ 9226 h 9226"/>
                  <a:gd name="connsiteX4" fmla="*/ 4705 w 41670"/>
                  <a:gd name="connsiteY4" fmla="*/ 9226 h 9226"/>
                  <a:gd name="connsiteX5" fmla="*/ 0 w 41670"/>
                  <a:gd name="connsiteY5" fmla="*/ 4645 h 9226"/>
                  <a:gd name="connsiteX6" fmla="*/ 0 w 41670"/>
                  <a:gd name="connsiteY6" fmla="*/ 4522 h 9226"/>
                  <a:gd name="connsiteX7" fmla="*/ 4949 w 41670"/>
                  <a:gd name="connsiteY7" fmla="*/ 2 h 9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670" h="9226">
                    <a:moveTo>
                      <a:pt x="5010" y="63"/>
                    </a:moveTo>
                    <a:lnTo>
                      <a:pt x="41671" y="63"/>
                    </a:lnTo>
                    <a:cubicBezTo>
                      <a:pt x="41671" y="1529"/>
                      <a:pt x="41671" y="3056"/>
                      <a:pt x="41671" y="4645"/>
                    </a:cubicBezTo>
                    <a:cubicBezTo>
                      <a:pt x="41671" y="6233"/>
                      <a:pt x="41671" y="7699"/>
                      <a:pt x="41671" y="9226"/>
                    </a:cubicBezTo>
                    <a:lnTo>
                      <a:pt x="4705" y="9226"/>
                    </a:lnTo>
                    <a:cubicBezTo>
                      <a:pt x="2138" y="9263"/>
                      <a:pt x="37" y="7210"/>
                      <a:pt x="0" y="4645"/>
                    </a:cubicBezTo>
                    <a:cubicBezTo>
                      <a:pt x="0" y="4602"/>
                      <a:pt x="0" y="4565"/>
                      <a:pt x="0" y="4522"/>
                    </a:cubicBezTo>
                    <a:cubicBezTo>
                      <a:pt x="165" y="1932"/>
                      <a:pt x="2352" y="-71"/>
                      <a:pt x="4949" y="2"/>
                    </a:cubicBezTo>
                  </a:path>
                </a:pathLst>
              </a:custGeom>
              <a:solidFill>
                <a:schemeClr val="accent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636" name="Textfeld 635">
              <a:extLst>
                <a:ext uri="{FF2B5EF4-FFF2-40B4-BE49-F238E27FC236}">
                  <a16:creationId xmlns:a16="http://schemas.microsoft.com/office/drawing/2014/main" id="{0BE78C0E-AE7A-8248-9649-19E08C4940F1}"/>
                </a:ext>
              </a:extLst>
            </p:cNvPr>
            <p:cNvSpPr txBox="1"/>
            <p:nvPr/>
          </p:nvSpPr>
          <p:spPr>
            <a:xfrm>
              <a:off x="2292958" y="4395096"/>
              <a:ext cx="616621" cy="2862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700" dirty="0" err="1"/>
                <a:t>CSEasy</a:t>
              </a:r>
              <a:br>
                <a:rPr lang="de-DE" sz="700" dirty="0"/>
              </a:br>
              <a:r>
                <a:rPr lang="cs-CZ" sz="700" dirty="0"/>
                <a:t>Inovace</a:t>
              </a:r>
              <a:endParaRPr lang="de-DE" sz="700" dirty="0"/>
            </a:p>
          </p:txBody>
        </p:sp>
      </p:grpSp>
      <p:sp>
        <p:nvSpPr>
          <p:cNvPr id="3" name="Textfeld 2">
            <a:extLst>
              <a:ext uri="{FF2B5EF4-FFF2-40B4-BE49-F238E27FC236}">
                <a16:creationId xmlns:a16="http://schemas.microsoft.com/office/drawing/2014/main" id="{86B7BFD2-B7F2-264B-BDB8-3DF1C2911F1F}"/>
              </a:ext>
            </a:extLst>
          </p:cNvPr>
          <p:cNvSpPr txBox="1"/>
          <p:nvPr/>
        </p:nvSpPr>
        <p:spPr>
          <a:xfrm>
            <a:off x="485775" y="115887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dirty="0"/>
          </a:p>
        </p:txBody>
      </p:sp>
      <p:sp>
        <p:nvSpPr>
          <p:cNvPr id="596" name="Textfeld 595">
            <a:extLst>
              <a:ext uri="{FF2B5EF4-FFF2-40B4-BE49-F238E27FC236}">
                <a16:creationId xmlns:a16="http://schemas.microsoft.com/office/drawing/2014/main" id="{100C893C-33AF-FF43-9465-72B96675596B}"/>
              </a:ext>
            </a:extLst>
          </p:cNvPr>
          <p:cNvSpPr txBox="1"/>
          <p:nvPr/>
        </p:nvSpPr>
        <p:spPr>
          <a:xfrm>
            <a:off x="107504" y="1433654"/>
            <a:ext cx="10243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700" dirty="0"/>
              <a:t>Profilové verze</a:t>
            </a:r>
            <a:endParaRPr lang="de-DE" sz="700" dirty="0"/>
          </a:p>
          <a:p>
            <a:r>
              <a:rPr lang="de-DE" sz="700" dirty="0"/>
              <a:t> </a:t>
            </a:r>
          </a:p>
        </p:txBody>
      </p:sp>
      <p:pic>
        <p:nvPicPr>
          <p:cNvPr id="604" name="Grafik 603">
            <a:extLst>
              <a:ext uri="{FF2B5EF4-FFF2-40B4-BE49-F238E27FC236}">
                <a16:creationId xmlns:a16="http://schemas.microsoft.com/office/drawing/2014/main" id="{79C60000-F072-7F4D-8919-068A9B0D07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512" y="746430"/>
            <a:ext cx="1294692" cy="7452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132365F5-AB90-EF48-8A23-E06E9F9444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68000" y="745200"/>
            <a:ext cx="942906" cy="745200"/>
          </a:xfrm>
          <a:prstGeom prst="rect">
            <a:avLst/>
          </a:prstGeom>
        </p:spPr>
      </p:pic>
      <p:pic>
        <p:nvPicPr>
          <p:cNvPr id="605" name="Grafik 604">
            <a:extLst>
              <a:ext uri="{FF2B5EF4-FFF2-40B4-BE49-F238E27FC236}">
                <a16:creationId xmlns:a16="http://schemas.microsoft.com/office/drawing/2014/main" id="{515C2E8E-2FC9-B146-8F55-9E7A0D226E2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33942" y="746430"/>
            <a:ext cx="570306" cy="745200"/>
          </a:xfrm>
          <a:prstGeom prst="rect">
            <a:avLst/>
          </a:prstGeom>
        </p:spPr>
      </p:pic>
      <p:sp>
        <p:nvSpPr>
          <p:cNvPr id="606" name="Textfeld 605">
            <a:extLst>
              <a:ext uri="{FF2B5EF4-FFF2-40B4-BE49-F238E27FC236}">
                <a16:creationId xmlns:a16="http://schemas.microsoft.com/office/drawing/2014/main" id="{F907A99A-16EB-2646-8B0D-5B72C71C42CD}"/>
              </a:ext>
            </a:extLst>
          </p:cNvPr>
          <p:cNvSpPr txBox="1"/>
          <p:nvPr/>
        </p:nvSpPr>
        <p:spPr>
          <a:xfrm>
            <a:off x="3099693" y="1421884"/>
            <a:ext cx="118427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700" dirty="0"/>
              <a:t>Profilové verze</a:t>
            </a:r>
            <a:endParaRPr lang="de-DE" sz="700" dirty="0"/>
          </a:p>
        </p:txBody>
      </p:sp>
      <p:grpSp>
        <p:nvGrpSpPr>
          <p:cNvPr id="388" name="Gruppieren 511">
            <a:extLst>
              <a:ext uri="{FF2B5EF4-FFF2-40B4-BE49-F238E27FC236}">
                <a16:creationId xmlns:a16="http://schemas.microsoft.com/office/drawing/2014/main" id="{D1EB21D8-C145-4530-B3E5-47199635319F}"/>
              </a:ext>
            </a:extLst>
          </p:cNvPr>
          <p:cNvGrpSpPr/>
          <p:nvPr/>
        </p:nvGrpSpPr>
        <p:grpSpPr>
          <a:xfrm>
            <a:off x="721936" y="4286963"/>
            <a:ext cx="509966" cy="719808"/>
            <a:chOff x="6021962" y="2774504"/>
            <a:chExt cx="771808" cy="1113636"/>
          </a:xfrm>
        </p:grpSpPr>
        <p:grpSp>
          <p:nvGrpSpPr>
            <p:cNvPr id="389" name="Gruppieren 495">
              <a:extLst>
                <a:ext uri="{FF2B5EF4-FFF2-40B4-BE49-F238E27FC236}">
                  <a16:creationId xmlns:a16="http://schemas.microsoft.com/office/drawing/2014/main" id="{72DF81D3-B07E-49B9-B98A-F3B527EDDCB7}"/>
                </a:ext>
              </a:extLst>
            </p:cNvPr>
            <p:cNvGrpSpPr/>
            <p:nvPr/>
          </p:nvGrpSpPr>
          <p:grpSpPr>
            <a:xfrm>
              <a:off x="6079793" y="2774504"/>
              <a:ext cx="656146" cy="626926"/>
              <a:chOff x="6008762" y="2774504"/>
              <a:chExt cx="656146" cy="626926"/>
            </a:xfrm>
          </p:grpSpPr>
          <p:sp>
            <p:nvSpPr>
              <p:cNvPr id="391" name="Freihandform 37">
                <a:extLst>
                  <a:ext uri="{FF2B5EF4-FFF2-40B4-BE49-F238E27FC236}">
                    <a16:creationId xmlns:a16="http://schemas.microsoft.com/office/drawing/2014/main" id="{E34C985E-A2B2-4BE6-9F52-721585B722DC}"/>
                  </a:ext>
                </a:extLst>
              </p:cNvPr>
              <p:cNvSpPr/>
              <p:nvPr/>
            </p:nvSpPr>
            <p:spPr>
              <a:xfrm>
                <a:off x="6345063" y="3081818"/>
                <a:ext cx="89785" cy="89764"/>
              </a:xfrm>
              <a:custGeom>
                <a:avLst/>
                <a:gdLst>
                  <a:gd name="connsiteX0" fmla="*/ 34339 w 34338"/>
                  <a:gd name="connsiteY0" fmla="*/ 17165 h 34330"/>
                  <a:gd name="connsiteX1" fmla="*/ 17169 w 34338"/>
                  <a:gd name="connsiteY1" fmla="*/ 34331 h 34330"/>
                  <a:gd name="connsiteX2" fmla="*/ 0 w 34338"/>
                  <a:gd name="connsiteY2" fmla="*/ 17165 h 34330"/>
                  <a:gd name="connsiteX3" fmla="*/ 17169 w 34338"/>
                  <a:gd name="connsiteY3" fmla="*/ 0 h 34330"/>
                  <a:gd name="connsiteX4" fmla="*/ 17230 w 34338"/>
                  <a:gd name="connsiteY4" fmla="*/ 0 h 34330"/>
                  <a:gd name="connsiteX5" fmla="*/ 34339 w 34338"/>
                  <a:gd name="connsiteY5" fmla="*/ 17104 h 34330"/>
                  <a:gd name="connsiteX6" fmla="*/ 34339 w 34338"/>
                  <a:gd name="connsiteY6" fmla="*/ 17165 h 34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4338" h="34330">
                    <a:moveTo>
                      <a:pt x="34339" y="17165"/>
                    </a:moveTo>
                    <a:cubicBezTo>
                      <a:pt x="34339" y="26646"/>
                      <a:pt x="26652" y="34331"/>
                      <a:pt x="17169" y="34331"/>
                    </a:cubicBezTo>
                    <a:cubicBezTo>
                      <a:pt x="7686" y="34331"/>
                      <a:pt x="0" y="26646"/>
                      <a:pt x="0" y="17165"/>
                    </a:cubicBezTo>
                    <a:cubicBezTo>
                      <a:pt x="0" y="7685"/>
                      <a:pt x="7686" y="0"/>
                      <a:pt x="17169" y="0"/>
                    </a:cubicBezTo>
                    <a:cubicBezTo>
                      <a:pt x="17188" y="0"/>
                      <a:pt x="17212" y="0"/>
                      <a:pt x="17230" y="0"/>
                    </a:cubicBezTo>
                    <a:cubicBezTo>
                      <a:pt x="26677" y="0"/>
                      <a:pt x="34339" y="7660"/>
                      <a:pt x="34339" y="17104"/>
                    </a:cubicBezTo>
                    <a:cubicBezTo>
                      <a:pt x="34339" y="17123"/>
                      <a:pt x="34339" y="17147"/>
                      <a:pt x="34339" y="17165"/>
                    </a:cubicBezTo>
                  </a:path>
                </a:pathLst>
              </a:custGeom>
              <a:solidFill>
                <a:schemeClr val="tx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2" name="Freihandform 38">
                <a:extLst>
                  <a:ext uri="{FF2B5EF4-FFF2-40B4-BE49-F238E27FC236}">
                    <a16:creationId xmlns:a16="http://schemas.microsoft.com/office/drawing/2014/main" id="{F872EC1F-9E5B-4C89-9557-9DDCFC0B78E6}"/>
                  </a:ext>
                </a:extLst>
              </p:cNvPr>
              <p:cNvSpPr/>
              <p:nvPr/>
            </p:nvSpPr>
            <p:spPr>
              <a:xfrm>
                <a:off x="6115323" y="2851971"/>
                <a:ext cx="549585" cy="549459"/>
              </a:xfrm>
              <a:custGeom>
                <a:avLst/>
                <a:gdLst>
                  <a:gd name="connsiteX0" fmla="*/ 105155 w 210186"/>
                  <a:gd name="connsiteY0" fmla="*/ 0 h 210138"/>
                  <a:gd name="connsiteX1" fmla="*/ 0 w 210186"/>
                  <a:gd name="connsiteY1" fmla="*/ 105008 h 210138"/>
                  <a:gd name="connsiteX2" fmla="*/ 105032 w 210186"/>
                  <a:gd name="connsiteY2" fmla="*/ 210138 h 210138"/>
                  <a:gd name="connsiteX3" fmla="*/ 210187 w 210186"/>
                  <a:gd name="connsiteY3" fmla="*/ 105130 h 210138"/>
                  <a:gd name="connsiteX4" fmla="*/ 210187 w 210186"/>
                  <a:gd name="connsiteY4" fmla="*/ 105069 h 210138"/>
                  <a:gd name="connsiteX5" fmla="*/ 105155 w 210186"/>
                  <a:gd name="connsiteY5" fmla="*/ 0 h 210138"/>
                  <a:gd name="connsiteX6" fmla="*/ 105155 w 210186"/>
                  <a:gd name="connsiteY6" fmla="*/ 10629 h 210138"/>
                  <a:gd name="connsiteX7" fmla="*/ 199733 w 210186"/>
                  <a:gd name="connsiteY7" fmla="*/ 104953 h 210138"/>
                  <a:gd name="connsiteX8" fmla="*/ 105393 w 210186"/>
                  <a:gd name="connsiteY8" fmla="*/ 199509 h 210138"/>
                  <a:gd name="connsiteX9" fmla="*/ 68494 w 210186"/>
                  <a:gd name="connsiteY9" fmla="*/ 192057 h 210138"/>
                  <a:gd name="connsiteX10" fmla="*/ 18263 w 210186"/>
                  <a:gd name="connsiteY10" fmla="*/ 68301 h 210138"/>
                  <a:gd name="connsiteX11" fmla="*/ 105155 w 210186"/>
                  <a:gd name="connsiteY11" fmla="*/ 10629 h 2101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0186" h="210138">
                    <a:moveTo>
                      <a:pt x="105155" y="0"/>
                    </a:moveTo>
                    <a:cubicBezTo>
                      <a:pt x="47115" y="-37"/>
                      <a:pt x="37" y="46982"/>
                      <a:pt x="0" y="105008"/>
                    </a:cubicBezTo>
                    <a:cubicBezTo>
                      <a:pt x="-37" y="163034"/>
                      <a:pt x="46993" y="210102"/>
                      <a:pt x="105032" y="210138"/>
                    </a:cubicBezTo>
                    <a:cubicBezTo>
                      <a:pt x="163072" y="210175"/>
                      <a:pt x="210150" y="163157"/>
                      <a:pt x="210187" y="105130"/>
                    </a:cubicBezTo>
                    <a:cubicBezTo>
                      <a:pt x="210187" y="105112"/>
                      <a:pt x="210187" y="105087"/>
                      <a:pt x="210187" y="105069"/>
                    </a:cubicBezTo>
                    <a:cubicBezTo>
                      <a:pt x="210187" y="47067"/>
                      <a:pt x="163170" y="37"/>
                      <a:pt x="105155" y="0"/>
                    </a:cubicBezTo>
                    <a:moveTo>
                      <a:pt x="105155" y="10629"/>
                    </a:moveTo>
                    <a:cubicBezTo>
                      <a:pt x="157322" y="10562"/>
                      <a:pt x="199671" y="52791"/>
                      <a:pt x="199733" y="104953"/>
                    </a:cubicBezTo>
                    <a:cubicBezTo>
                      <a:pt x="199800" y="157109"/>
                      <a:pt x="157561" y="199442"/>
                      <a:pt x="105393" y="199509"/>
                    </a:cubicBezTo>
                    <a:cubicBezTo>
                      <a:pt x="92715" y="199528"/>
                      <a:pt x="80170" y="196992"/>
                      <a:pt x="68494" y="192057"/>
                    </a:cubicBezTo>
                    <a:cubicBezTo>
                      <a:pt x="20438" y="171751"/>
                      <a:pt x="-2047" y="116340"/>
                      <a:pt x="18263" y="68301"/>
                    </a:cubicBezTo>
                    <a:cubicBezTo>
                      <a:pt x="33025" y="33384"/>
                      <a:pt x="67242" y="10678"/>
                      <a:pt x="105155" y="10629"/>
                    </a:cubicBezTo>
                  </a:path>
                </a:pathLst>
              </a:custGeom>
              <a:solidFill>
                <a:schemeClr val="accent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3" name="Freihandform 39">
                <a:extLst>
                  <a:ext uri="{FF2B5EF4-FFF2-40B4-BE49-F238E27FC236}">
                    <a16:creationId xmlns:a16="http://schemas.microsoft.com/office/drawing/2014/main" id="{BAB62989-F37F-4A2B-8756-50272087842F}"/>
                  </a:ext>
                </a:extLst>
              </p:cNvPr>
              <p:cNvSpPr/>
              <p:nvPr/>
            </p:nvSpPr>
            <p:spPr>
              <a:xfrm>
                <a:off x="6376430" y="3024715"/>
                <a:ext cx="115839" cy="115881"/>
              </a:xfrm>
              <a:custGeom>
                <a:avLst/>
                <a:gdLst>
                  <a:gd name="connsiteX0" fmla="*/ 5296 w 44302"/>
                  <a:gd name="connsiteY0" fmla="*/ 44257 h 44318"/>
                  <a:gd name="connsiteX1" fmla="*/ 1508 w 44302"/>
                  <a:gd name="connsiteY1" fmla="*/ 42730 h 44318"/>
                  <a:gd name="connsiteX2" fmla="*/ 1508 w 44302"/>
                  <a:gd name="connsiteY2" fmla="*/ 35216 h 44318"/>
                  <a:gd name="connsiteX3" fmla="*/ 35235 w 44302"/>
                  <a:gd name="connsiteY3" fmla="*/ 1558 h 44318"/>
                  <a:gd name="connsiteX4" fmla="*/ 42751 w 44302"/>
                  <a:gd name="connsiteY4" fmla="*/ 1558 h 44318"/>
                  <a:gd name="connsiteX5" fmla="*/ 42775 w 44302"/>
                  <a:gd name="connsiteY5" fmla="*/ 8986 h 44318"/>
                  <a:gd name="connsiteX6" fmla="*/ 42751 w 44302"/>
                  <a:gd name="connsiteY6" fmla="*/ 9010 h 44318"/>
                  <a:gd name="connsiteX7" fmla="*/ 9023 w 44302"/>
                  <a:gd name="connsiteY7" fmla="*/ 42791 h 44318"/>
                  <a:gd name="connsiteX8" fmla="*/ 5296 w 44302"/>
                  <a:gd name="connsiteY8" fmla="*/ 44318 h 44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4302" h="44318">
                    <a:moveTo>
                      <a:pt x="5296" y="44257"/>
                    </a:moveTo>
                    <a:cubicBezTo>
                      <a:pt x="3878" y="44263"/>
                      <a:pt x="2522" y="43720"/>
                      <a:pt x="1508" y="42730"/>
                    </a:cubicBezTo>
                    <a:cubicBezTo>
                      <a:pt x="-503" y="40629"/>
                      <a:pt x="-503" y="37318"/>
                      <a:pt x="1508" y="35216"/>
                    </a:cubicBezTo>
                    <a:lnTo>
                      <a:pt x="35235" y="1558"/>
                    </a:lnTo>
                    <a:cubicBezTo>
                      <a:pt x="37313" y="-519"/>
                      <a:pt x="40673" y="-519"/>
                      <a:pt x="42751" y="1558"/>
                    </a:cubicBezTo>
                    <a:cubicBezTo>
                      <a:pt x="44810" y="3604"/>
                      <a:pt x="44822" y="6927"/>
                      <a:pt x="42775" y="8986"/>
                    </a:cubicBezTo>
                    <a:cubicBezTo>
                      <a:pt x="42769" y="8992"/>
                      <a:pt x="42757" y="9004"/>
                      <a:pt x="42751" y="9010"/>
                    </a:cubicBezTo>
                    <a:lnTo>
                      <a:pt x="9023" y="42791"/>
                    </a:lnTo>
                    <a:cubicBezTo>
                      <a:pt x="8039" y="43781"/>
                      <a:pt x="6695" y="44331"/>
                      <a:pt x="5296" y="44318"/>
                    </a:cubicBezTo>
                  </a:path>
                </a:pathLst>
              </a:custGeom>
              <a:solidFill>
                <a:schemeClr val="tx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4" name="Freihandform 40">
                <a:extLst>
                  <a:ext uri="{FF2B5EF4-FFF2-40B4-BE49-F238E27FC236}">
                    <a16:creationId xmlns:a16="http://schemas.microsoft.com/office/drawing/2014/main" id="{7B80A089-4C22-457F-A8DD-D52F718F29CF}"/>
                  </a:ext>
                </a:extLst>
              </p:cNvPr>
              <p:cNvSpPr/>
              <p:nvPr/>
            </p:nvSpPr>
            <p:spPr>
              <a:xfrm>
                <a:off x="6375580" y="2774504"/>
                <a:ext cx="27797" cy="146468"/>
              </a:xfrm>
              <a:custGeom>
                <a:avLst/>
                <a:gdLst>
                  <a:gd name="connsiteX0" fmla="*/ 5316 w 10631"/>
                  <a:gd name="connsiteY0" fmla="*/ 56016 h 56016"/>
                  <a:gd name="connsiteX1" fmla="*/ 0 w 10631"/>
                  <a:gd name="connsiteY1" fmla="*/ 50702 h 56016"/>
                  <a:gd name="connsiteX2" fmla="*/ 0 w 10631"/>
                  <a:gd name="connsiteY2" fmla="*/ 5315 h 56016"/>
                  <a:gd name="connsiteX3" fmla="*/ 5316 w 10631"/>
                  <a:gd name="connsiteY3" fmla="*/ 0 h 56016"/>
                  <a:gd name="connsiteX4" fmla="*/ 10631 w 10631"/>
                  <a:gd name="connsiteY4" fmla="*/ 5315 h 56016"/>
                  <a:gd name="connsiteX5" fmla="*/ 10631 w 10631"/>
                  <a:gd name="connsiteY5" fmla="*/ 50702 h 56016"/>
                  <a:gd name="connsiteX6" fmla="*/ 5316 w 10631"/>
                  <a:gd name="connsiteY6" fmla="*/ 56016 h 56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631" h="56016">
                    <a:moveTo>
                      <a:pt x="5316" y="56016"/>
                    </a:moveTo>
                    <a:cubicBezTo>
                      <a:pt x="2383" y="56016"/>
                      <a:pt x="0" y="53634"/>
                      <a:pt x="0" y="50702"/>
                    </a:cubicBezTo>
                    <a:lnTo>
                      <a:pt x="0" y="5315"/>
                    </a:lnTo>
                    <a:cubicBezTo>
                      <a:pt x="0" y="2382"/>
                      <a:pt x="2383" y="0"/>
                      <a:pt x="5316" y="0"/>
                    </a:cubicBezTo>
                    <a:cubicBezTo>
                      <a:pt x="8255" y="0"/>
                      <a:pt x="10631" y="2382"/>
                      <a:pt x="10631" y="5315"/>
                    </a:cubicBezTo>
                    <a:lnTo>
                      <a:pt x="10631" y="50702"/>
                    </a:lnTo>
                    <a:cubicBezTo>
                      <a:pt x="10631" y="53634"/>
                      <a:pt x="8249" y="56016"/>
                      <a:pt x="5316" y="56016"/>
                    </a:cubicBezTo>
                  </a:path>
                </a:pathLst>
              </a:custGeom>
              <a:solidFill>
                <a:schemeClr val="accent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5" name="Freihandform 41">
                <a:extLst>
                  <a:ext uri="{FF2B5EF4-FFF2-40B4-BE49-F238E27FC236}">
                    <a16:creationId xmlns:a16="http://schemas.microsoft.com/office/drawing/2014/main" id="{71F637C8-B9B7-4CE4-B210-424598D4D385}"/>
                  </a:ext>
                </a:extLst>
              </p:cNvPr>
              <p:cNvSpPr/>
              <p:nvPr/>
            </p:nvSpPr>
            <p:spPr>
              <a:xfrm>
                <a:off x="6309916" y="2774823"/>
                <a:ext cx="159283" cy="27792"/>
              </a:xfrm>
              <a:custGeom>
                <a:avLst/>
                <a:gdLst>
                  <a:gd name="connsiteX0" fmla="*/ 55602 w 60917"/>
                  <a:gd name="connsiteY0" fmla="*/ 10629 h 10629"/>
                  <a:gd name="connsiteX1" fmla="*/ 5316 w 60917"/>
                  <a:gd name="connsiteY1" fmla="*/ 10629 h 10629"/>
                  <a:gd name="connsiteX2" fmla="*/ 0 w 60917"/>
                  <a:gd name="connsiteY2" fmla="*/ 5315 h 10629"/>
                  <a:gd name="connsiteX3" fmla="*/ 5316 w 60917"/>
                  <a:gd name="connsiteY3" fmla="*/ 0 h 10629"/>
                  <a:gd name="connsiteX4" fmla="*/ 55602 w 60917"/>
                  <a:gd name="connsiteY4" fmla="*/ 0 h 10629"/>
                  <a:gd name="connsiteX5" fmla="*/ 60918 w 60917"/>
                  <a:gd name="connsiteY5" fmla="*/ 5315 h 10629"/>
                  <a:gd name="connsiteX6" fmla="*/ 55602 w 60917"/>
                  <a:gd name="connsiteY6" fmla="*/ 10629 h 10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917" h="10629">
                    <a:moveTo>
                      <a:pt x="55602" y="10629"/>
                    </a:moveTo>
                    <a:lnTo>
                      <a:pt x="5316" y="10629"/>
                    </a:lnTo>
                    <a:cubicBezTo>
                      <a:pt x="2377" y="10629"/>
                      <a:pt x="0" y="8247"/>
                      <a:pt x="0" y="5315"/>
                    </a:cubicBezTo>
                    <a:cubicBezTo>
                      <a:pt x="0" y="2382"/>
                      <a:pt x="2383" y="0"/>
                      <a:pt x="5316" y="0"/>
                    </a:cubicBezTo>
                    <a:lnTo>
                      <a:pt x="55602" y="0"/>
                    </a:lnTo>
                    <a:cubicBezTo>
                      <a:pt x="58535" y="0"/>
                      <a:pt x="60918" y="2382"/>
                      <a:pt x="60918" y="5315"/>
                    </a:cubicBezTo>
                    <a:cubicBezTo>
                      <a:pt x="60918" y="8247"/>
                      <a:pt x="58535" y="10629"/>
                      <a:pt x="55602" y="10629"/>
                    </a:cubicBezTo>
                  </a:path>
                </a:pathLst>
              </a:custGeom>
              <a:solidFill>
                <a:srgbClr val="F7A700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6" name="Freihandform 42">
                <a:extLst>
                  <a:ext uri="{FF2B5EF4-FFF2-40B4-BE49-F238E27FC236}">
                    <a16:creationId xmlns:a16="http://schemas.microsoft.com/office/drawing/2014/main" id="{DD3D56EB-5ED0-4A38-BC16-8716E726085B}"/>
                  </a:ext>
                </a:extLst>
              </p:cNvPr>
              <p:cNvSpPr/>
              <p:nvPr/>
            </p:nvSpPr>
            <p:spPr>
              <a:xfrm>
                <a:off x="6078419" y="3231003"/>
                <a:ext cx="157207" cy="27792"/>
              </a:xfrm>
              <a:custGeom>
                <a:avLst/>
                <a:gdLst>
                  <a:gd name="connsiteX0" fmla="*/ 54807 w 60123"/>
                  <a:gd name="connsiteY0" fmla="*/ 10629 h 10629"/>
                  <a:gd name="connsiteX1" fmla="*/ 5316 w 60123"/>
                  <a:gd name="connsiteY1" fmla="*/ 10629 h 10629"/>
                  <a:gd name="connsiteX2" fmla="*/ 0 w 60123"/>
                  <a:gd name="connsiteY2" fmla="*/ 5315 h 10629"/>
                  <a:gd name="connsiteX3" fmla="*/ 5316 w 60123"/>
                  <a:gd name="connsiteY3" fmla="*/ 0 h 10629"/>
                  <a:gd name="connsiteX4" fmla="*/ 54807 w 60123"/>
                  <a:gd name="connsiteY4" fmla="*/ 0 h 10629"/>
                  <a:gd name="connsiteX5" fmla="*/ 60123 w 60123"/>
                  <a:gd name="connsiteY5" fmla="*/ 5315 h 10629"/>
                  <a:gd name="connsiteX6" fmla="*/ 54807 w 60123"/>
                  <a:gd name="connsiteY6" fmla="*/ 10629 h 10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123" h="10629">
                    <a:moveTo>
                      <a:pt x="54807" y="10629"/>
                    </a:moveTo>
                    <a:lnTo>
                      <a:pt x="5316" y="10629"/>
                    </a:lnTo>
                    <a:cubicBezTo>
                      <a:pt x="2377" y="10629"/>
                      <a:pt x="0" y="8247"/>
                      <a:pt x="0" y="5315"/>
                    </a:cubicBezTo>
                    <a:cubicBezTo>
                      <a:pt x="0" y="2382"/>
                      <a:pt x="2383" y="0"/>
                      <a:pt x="5316" y="0"/>
                    </a:cubicBezTo>
                    <a:lnTo>
                      <a:pt x="54807" y="0"/>
                    </a:lnTo>
                    <a:cubicBezTo>
                      <a:pt x="57746" y="0"/>
                      <a:pt x="60123" y="2382"/>
                      <a:pt x="60123" y="5315"/>
                    </a:cubicBezTo>
                    <a:cubicBezTo>
                      <a:pt x="60123" y="8247"/>
                      <a:pt x="57740" y="10629"/>
                      <a:pt x="54807" y="10629"/>
                    </a:cubicBezTo>
                  </a:path>
                </a:pathLst>
              </a:custGeom>
              <a:solidFill>
                <a:schemeClr val="accent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7" name="Freihandform 43">
                <a:extLst>
                  <a:ext uri="{FF2B5EF4-FFF2-40B4-BE49-F238E27FC236}">
                    <a16:creationId xmlns:a16="http://schemas.microsoft.com/office/drawing/2014/main" id="{506F2AC5-58FD-4B71-B2C8-3E2D9C771989}"/>
                  </a:ext>
                </a:extLst>
              </p:cNvPr>
              <p:cNvSpPr/>
              <p:nvPr/>
            </p:nvSpPr>
            <p:spPr>
              <a:xfrm>
                <a:off x="6078419" y="2993489"/>
                <a:ext cx="157207" cy="27792"/>
              </a:xfrm>
              <a:custGeom>
                <a:avLst/>
                <a:gdLst>
                  <a:gd name="connsiteX0" fmla="*/ 54807 w 60123"/>
                  <a:gd name="connsiteY0" fmla="*/ 10629 h 10629"/>
                  <a:gd name="connsiteX1" fmla="*/ 5316 w 60123"/>
                  <a:gd name="connsiteY1" fmla="*/ 10629 h 10629"/>
                  <a:gd name="connsiteX2" fmla="*/ 0 w 60123"/>
                  <a:gd name="connsiteY2" fmla="*/ 5315 h 10629"/>
                  <a:gd name="connsiteX3" fmla="*/ 5316 w 60123"/>
                  <a:gd name="connsiteY3" fmla="*/ 0 h 10629"/>
                  <a:gd name="connsiteX4" fmla="*/ 54807 w 60123"/>
                  <a:gd name="connsiteY4" fmla="*/ 0 h 10629"/>
                  <a:gd name="connsiteX5" fmla="*/ 60123 w 60123"/>
                  <a:gd name="connsiteY5" fmla="*/ 5315 h 10629"/>
                  <a:gd name="connsiteX6" fmla="*/ 54807 w 60123"/>
                  <a:gd name="connsiteY6" fmla="*/ 10629 h 10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0123" h="10629">
                    <a:moveTo>
                      <a:pt x="54807" y="10629"/>
                    </a:moveTo>
                    <a:lnTo>
                      <a:pt x="5316" y="10629"/>
                    </a:lnTo>
                    <a:cubicBezTo>
                      <a:pt x="2377" y="10629"/>
                      <a:pt x="0" y="8247"/>
                      <a:pt x="0" y="5315"/>
                    </a:cubicBezTo>
                    <a:cubicBezTo>
                      <a:pt x="0" y="2382"/>
                      <a:pt x="2383" y="0"/>
                      <a:pt x="5316" y="0"/>
                    </a:cubicBezTo>
                    <a:lnTo>
                      <a:pt x="54807" y="0"/>
                    </a:lnTo>
                    <a:cubicBezTo>
                      <a:pt x="57746" y="0"/>
                      <a:pt x="60123" y="2382"/>
                      <a:pt x="60123" y="5315"/>
                    </a:cubicBezTo>
                    <a:cubicBezTo>
                      <a:pt x="60123" y="8247"/>
                      <a:pt x="57740" y="10629"/>
                      <a:pt x="54807" y="10629"/>
                    </a:cubicBezTo>
                  </a:path>
                </a:pathLst>
              </a:custGeom>
              <a:solidFill>
                <a:schemeClr val="accent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8" name="Freihandform 44">
                <a:extLst>
                  <a:ext uri="{FF2B5EF4-FFF2-40B4-BE49-F238E27FC236}">
                    <a16:creationId xmlns:a16="http://schemas.microsoft.com/office/drawing/2014/main" id="{FC29BD76-9917-4D9F-96CA-5B68009B743B}"/>
                  </a:ext>
                </a:extLst>
              </p:cNvPr>
              <p:cNvSpPr/>
              <p:nvPr/>
            </p:nvSpPr>
            <p:spPr>
              <a:xfrm>
                <a:off x="6008762" y="3116317"/>
                <a:ext cx="235490" cy="27792"/>
              </a:xfrm>
              <a:custGeom>
                <a:avLst/>
                <a:gdLst>
                  <a:gd name="connsiteX0" fmla="*/ 84747 w 90062"/>
                  <a:gd name="connsiteY0" fmla="*/ 10629 h 10629"/>
                  <a:gd name="connsiteX1" fmla="*/ 5316 w 90062"/>
                  <a:gd name="connsiteY1" fmla="*/ 10629 h 10629"/>
                  <a:gd name="connsiteX2" fmla="*/ 0 w 90062"/>
                  <a:gd name="connsiteY2" fmla="*/ 5315 h 10629"/>
                  <a:gd name="connsiteX3" fmla="*/ 5316 w 90062"/>
                  <a:gd name="connsiteY3" fmla="*/ 0 h 10629"/>
                  <a:gd name="connsiteX4" fmla="*/ 84747 w 90062"/>
                  <a:gd name="connsiteY4" fmla="*/ 0 h 10629"/>
                  <a:gd name="connsiteX5" fmla="*/ 90063 w 90062"/>
                  <a:gd name="connsiteY5" fmla="*/ 5315 h 10629"/>
                  <a:gd name="connsiteX6" fmla="*/ 84747 w 90062"/>
                  <a:gd name="connsiteY6" fmla="*/ 10629 h 10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0062" h="10629">
                    <a:moveTo>
                      <a:pt x="84747" y="10629"/>
                    </a:moveTo>
                    <a:lnTo>
                      <a:pt x="5316" y="10629"/>
                    </a:lnTo>
                    <a:cubicBezTo>
                      <a:pt x="2383" y="10629"/>
                      <a:pt x="0" y="8247"/>
                      <a:pt x="0" y="5315"/>
                    </a:cubicBezTo>
                    <a:cubicBezTo>
                      <a:pt x="0" y="2382"/>
                      <a:pt x="2383" y="0"/>
                      <a:pt x="5316" y="0"/>
                    </a:cubicBezTo>
                    <a:lnTo>
                      <a:pt x="84747" y="0"/>
                    </a:lnTo>
                    <a:cubicBezTo>
                      <a:pt x="87686" y="0"/>
                      <a:pt x="90063" y="2382"/>
                      <a:pt x="90063" y="5315"/>
                    </a:cubicBezTo>
                    <a:cubicBezTo>
                      <a:pt x="90063" y="8247"/>
                      <a:pt x="87680" y="10629"/>
                      <a:pt x="84747" y="10629"/>
                    </a:cubicBezTo>
                  </a:path>
                </a:pathLst>
              </a:custGeom>
              <a:solidFill>
                <a:schemeClr val="accent1"/>
              </a:solidFill>
              <a:ln w="609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390" name="Textfeld 501">
              <a:extLst>
                <a:ext uri="{FF2B5EF4-FFF2-40B4-BE49-F238E27FC236}">
                  <a16:creationId xmlns:a16="http://schemas.microsoft.com/office/drawing/2014/main" id="{66650F76-AD8F-4715-838B-944EA9974250}"/>
                </a:ext>
              </a:extLst>
            </p:cNvPr>
            <p:cNvSpPr txBox="1"/>
            <p:nvPr/>
          </p:nvSpPr>
          <p:spPr>
            <a:xfrm>
              <a:off x="6021962" y="3549586"/>
              <a:ext cx="77180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de-DE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20898711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3BFUTVYNIZAkbwvSnv0iGEFAAAAAAADAAAAAAADAAAAAwADAAAAAAD///////8DAAEA////////BAAAAAMAEAALen0Dd9XbiUaADknXF2NaF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AgMAAAAAAAAAAAAACAB////////////////AAAA////////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AwEDAAAAAwD///////8lAAZMaW5rZWRTaGFwZVByZXNlbnRhdGlvblNldHRpbmdzRGF0YV8wBQAAAAEABAAAAAAABAAAAAI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HBFUTVYNIZAkbwvSnv0iGEDRGF0YQAbAAAABExpbmtlZFNoYXBlRGF0YQAFAAAAAAACTmFtZQAZAAAATGlua2VkU2hhcGVzRGF0YVByb3BlcnR5ABBWZXJzaW9uAAAAAAAJTGFzdFdyaXRlABVtuu57AQAAAAEA/////50AnQAAAAVfaWQAEAAAAAR6fQN31duJRoAOSdcXY1oUA0RhdGEAKgAAAAhQcmVzZW50YXRpb25TY2FubmVkRm9yTGlua2VkU2hhcGVzAAEAAk5hbWUAJAAAAExpbmtlZFNoYXBlUHJlc2VudGF0aW9uU2V0dGluZ3NEYXRhABBWZXJzaW9uAAAAAAAJTGFzdFdyaXRlAFVtuu57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LGPFVNSmKt8uBI3xVc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OPTIONS" val="Public;Internal;Confidential;Third-Party Confidential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PRESI_FIRST_SLIDENUMBER" val="1"/>
  <p:tag name="MIO_FALLBACK_LAYOUT" val="14"/>
  <p:tag name="MIO_SHOW_DATE" val="True"/>
  <p:tag name="MIO_SHOW_FOOTER" val="True"/>
  <p:tag name="MIO_SHOW_PAGENUMBER" val="True"/>
  <p:tag name="MIO_AVOID_BLANK_LAYOUT" val="False"/>
  <p:tag name="MIO_NUMBER_OF_VALID_LAYOUTS" val="18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10315"/>
  <p:tag name="MIO_UPDATE" val="True"/>
  <p:tag name="MIO_VERSION" val="30.06.2017 15:35:53"/>
  <p:tag name="MIO_DBID" val="ED9FF2F2-6643-46BA-B685-7D49126FFAFF"/>
  <p:tag name="MIO_LASTDOWNLOADED" val="11.07.2017 12:03:54"/>
  <p:tag name="MIO_OBJECTNAME" val="Tire internal, 16x9"/>
  <p:tag name="MIO_LASTEDITORNAME" val="Leon Kirchner_ex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"/>
  <p:tag name="MIO_SHOW_DATE" val="False"/>
  <p:tag name="MIO_SHOW_FOOTER" val="False"/>
  <p:tag name="MIO_SHOW_PAGENUMBER" val="False"/>
  <p:tag name="MIO_AVOID_BLANK_LAYOUT" val="True"/>
  <p:tag name="MIO_NUMBER_OF_VALID_LAYOUTS" val="18"/>
  <p:tag name="MIO_MST_COLOR_1" val="0,0,0,Dunkel 1"/>
  <p:tag name="MIO_MST_COLOR_2" val="255,255,255,Hell 1"/>
  <p:tag name="MIO_MST_COLOR_3" val="255,255,255,Dunkel 2"/>
  <p:tag name="MIO_MST_COLOR_4" val="235,235,235,Hell 2"/>
  <p:tag name="MIO_MST_COLOR_5" val="255,165,0,Akzent 1"/>
  <p:tag name="MIO_MST_COLOR_6" val="191,115,0,Akzent 2"/>
  <p:tag name="MIO_MST_COLOR_7" val="226,135,0,Akzent 3"/>
  <p:tag name="MIO_MST_COLOR_8" val="255,194,102,Akzent 4"/>
  <p:tag name="MIO_MST_COLOR_9" val="95,95,95,Akzent 5"/>
  <p:tag name="MIO_MST_COLOR_10" val="38,38,38,Akzent 6"/>
  <p:tag name="MIO_MST_COLOR_11" val="255,165,0,"/>
  <p:tag name="MIO_MST_COLOR_12" val="119,119,119,"/>
  <p:tag name="MIO_HDS" val="True"/>
  <p:tag name="MIO_EK" val="10315"/>
  <p:tag name="MIO_UPDATE" val="True"/>
  <p:tag name="MIO_VERSION" val="15.02.2018 16:17:25"/>
  <p:tag name="MIO_DBID" val="ED9FF2F2-6643-46BA-B685-7D49126FFAFF"/>
  <p:tag name="MIO_LASTDOWNLOADED" val="09.03.2020 14:25:47"/>
  <p:tag name="MIO_OBJECTNAME" val="Rubber internal, 16x9"/>
</p:tagLst>
</file>

<file path=ppt/theme/theme1.xml><?xml version="1.0" encoding="utf-8"?>
<a:theme xmlns:a="http://schemas.openxmlformats.org/drawingml/2006/main" name="Continental AG, 16x9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6006a9c5-d130-408c-bc8e-3b5ecdb17aa0}" enabled="1" method="Standard" siteId="{8d4b558f-7b2e-40ba-ad1f-e04d79e6265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0</Words>
  <Application>Microsoft Office PowerPoint</Application>
  <PresentationFormat>Předvádění na obrazovce (16:9)</PresentationFormat>
  <Paragraphs>49</Paragraphs>
  <Slides>1</Slides>
  <Notes>1</Notes>
  <HiddenSlides>0</HiddenSlides>
  <MMClips>0</MMClips>
  <ScaleCrop>false</ScaleCrop>
  <HeadingPairs>
    <vt:vector size="8" baseType="variant">
      <vt:variant>
        <vt:lpstr>Použitá písma</vt:lpstr>
      </vt:variant>
      <vt:variant>
        <vt:i4>2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</vt:i4>
      </vt:variant>
    </vt:vector>
  </HeadingPairs>
  <TitlesOfParts>
    <vt:vector size="5" baseType="lpstr">
      <vt:lpstr>Arial</vt:lpstr>
      <vt:lpstr>Calibri</vt:lpstr>
      <vt:lpstr>Continental AG, 16x9</vt:lpstr>
      <vt:lpstr>think-cell Folie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3-25T19:31:22Z</dcterms:created>
  <dcterms:modified xsi:type="dcterms:W3CDTF">2022-10-06T12:42:06Z</dcterms:modified>
</cp:coreProperties>
</file>